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57" r:id="rId2"/>
    <p:sldId id="348" r:id="rId3"/>
    <p:sldId id="352" r:id="rId4"/>
    <p:sldId id="362" r:id="rId5"/>
    <p:sldId id="363" r:id="rId6"/>
    <p:sldId id="361" r:id="rId7"/>
    <p:sldId id="366" r:id="rId8"/>
    <p:sldId id="364" r:id="rId9"/>
    <p:sldId id="365" r:id="rId10"/>
    <p:sldId id="367" r:id="rId11"/>
    <p:sldId id="368" r:id="rId12"/>
    <p:sldId id="373" r:id="rId13"/>
    <p:sldId id="375" r:id="rId14"/>
    <p:sldId id="370" r:id="rId15"/>
    <p:sldId id="377" r:id="rId16"/>
    <p:sldId id="378" r:id="rId17"/>
    <p:sldId id="379" r:id="rId18"/>
    <p:sldId id="380" r:id="rId19"/>
    <p:sldId id="332" r:id="rId20"/>
    <p:sldId id="376" r:id="rId21"/>
    <p:sldId id="372" r:id="rId22"/>
    <p:sldId id="359" r:id="rId23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2">
          <p15:clr>
            <a:srgbClr val="A4A3A4"/>
          </p15:clr>
        </p15:guide>
        <p15:guide id="2" orient="horz" pos="3032">
          <p15:clr>
            <a:srgbClr val="A4A3A4"/>
          </p15:clr>
        </p15:guide>
        <p15:guide id="3" orient="horz" pos="118">
          <p15:clr>
            <a:srgbClr val="A4A3A4"/>
          </p15:clr>
        </p15:guide>
        <p15:guide id="4" orient="horz" pos="758">
          <p15:clr>
            <a:srgbClr val="A4A3A4"/>
          </p15:clr>
        </p15:guide>
        <p15:guide id="5" orient="horz" pos="2916">
          <p15:clr>
            <a:srgbClr val="A4A3A4"/>
          </p15:clr>
        </p15:guide>
        <p15:guide id="6" pos="5470">
          <p15:clr>
            <a:srgbClr val="A4A3A4"/>
          </p15:clr>
        </p15:guide>
        <p15:guide id="7" pos="287">
          <p15:clr>
            <a:srgbClr val="A4A3A4"/>
          </p15:clr>
        </p15:guide>
        <p15:guide id="8" pos="2879">
          <p15:clr>
            <a:srgbClr val="A4A3A4"/>
          </p15:clr>
        </p15:guide>
        <p15:guide id="9" pos="2811">
          <p15:clr>
            <a:srgbClr val="A4A3A4"/>
          </p15:clr>
        </p15:guide>
        <p15:guide id="10" pos="294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43" autoAdjust="0"/>
    <p:restoredTop sz="67725" autoAdjust="0"/>
  </p:normalViewPr>
  <p:slideViewPr>
    <p:cSldViewPr snapToGrid="0">
      <p:cViewPr varScale="1">
        <p:scale>
          <a:sx n="66" d="100"/>
          <a:sy n="66" d="100"/>
        </p:scale>
        <p:origin x="1404" y="72"/>
      </p:cViewPr>
      <p:guideLst>
        <p:guide orient="horz" pos="1622"/>
        <p:guide orient="horz" pos="3032"/>
        <p:guide orient="horz" pos="118"/>
        <p:guide orient="horz" pos="758"/>
        <p:guide orient="horz" pos="2916"/>
        <p:guide pos="5470"/>
        <p:guide pos="287"/>
        <p:guide pos="2879"/>
        <p:guide pos="2811"/>
        <p:guide pos="294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63" d="100"/>
        <a:sy n="163" d="100"/>
      </p:scale>
      <p:origin x="0" y="-4872"/>
    </p:cViewPr>
  </p:sorterViewPr>
  <p:notesViewPr>
    <p:cSldViewPr snapToGrid="0" showGuides="1">
      <p:cViewPr varScale="1">
        <p:scale>
          <a:sx n="74" d="100"/>
          <a:sy n="74" d="100"/>
        </p:scale>
        <p:origin x="-74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CFD7B2-88A6-E34E-8EF8-CB0C7BA47ADD}" type="datetimeFigureOut">
              <a:rPr lang="en-US" smtClean="0"/>
              <a:pPr/>
              <a:t>3/10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6CFA4E-18EB-6D49-8DE2-7A74038C2C1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9941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7FC5FE-6F0D-D34A-8EE6-C95B4F5F4DC8}" type="datetimeFigureOut">
              <a:rPr lang="en-US" smtClean="0"/>
              <a:pPr/>
              <a:t>3/10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1C8689-8455-3546-ADF9-3B7273760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42922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corelaborate.psesd.org/engage-new-york-great-resource/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kendalrugby.co.uk/news/good-luck-u1314-in-your-county-cup-final-1207625.html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://www.bluecowcreative.ca/tag/call-to-action/" TargetMode="Externa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4976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Source – Daniel</a:t>
            </a:r>
            <a:r>
              <a:rPr lang="en-GB" baseline="0" dirty="0" smtClean="0"/>
              <a:t>  (CES/R</a:t>
            </a:r>
            <a:r>
              <a:rPr lang="en-GB" dirty="0" smtClean="0"/>
              <a:t>oadshow)</a:t>
            </a:r>
          </a:p>
          <a:p>
            <a:endParaRPr lang="en-GB" dirty="0" smtClean="0">
              <a:solidFill>
                <a:schemeClr val="dk1"/>
              </a:solidFill>
              <a:latin typeface="+mn-lt"/>
              <a:ea typeface="Calibri"/>
              <a:cs typeface="Calibri"/>
              <a:sym typeface="Calibri"/>
            </a:endParaRPr>
          </a:p>
          <a:p>
            <a:r>
              <a:rPr lang="en-GB" dirty="0" smtClean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rPr>
              <a:t>Supporting various languages is biggest potential / strength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0533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 smtClean="0"/>
              <a:t>Source –Ajay Mungara.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600" dirty="0" smtClean="0">
              <a:solidFill>
                <a:srgbClr val="00B050"/>
              </a:solidFill>
              <a:latin typeface="Intel Clear" panose="020B0604020203020204" pitchFamily="34" charset="0"/>
            </a:endParaRP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 smtClean="0">
                <a:solidFill>
                  <a:srgbClr val="00B050"/>
                </a:solidFill>
                <a:latin typeface="Intel Clear" panose="020B0604020203020204" pitchFamily="34" charset="0"/>
              </a:rPr>
              <a:t>The Intel IoT Developer Kit caters to any IoT app developer, from novice to hobbyist to professional developers.   </a:t>
            </a:r>
          </a:p>
          <a:p>
            <a:endParaRPr lang="en-GB" dirty="0" smtClean="0"/>
          </a:p>
          <a:p>
            <a:r>
              <a:rPr lang="en-US" sz="1200" dirty="0" smtClean="0">
                <a:solidFill>
                  <a:srgbClr val="00B050"/>
                </a:solidFill>
                <a:latin typeface="Intel Clear" panose="020B0604020203020204" pitchFamily="34" charset="0"/>
              </a:rPr>
              <a:t>It combines the power and richness of x86 software with Arduino-style ease of hardware design. </a:t>
            </a:r>
          </a:p>
          <a:p>
            <a:endParaRPr lang="en-GB" sz="1200" dirty="0" smtClean="0">
              <a:solidFill>
                <a:srgbClr val="00B050"/>
              </a:solidFill>
              <a:latin typeface="Intel Clear" panose="020B0604020203020204" pitchFamily="34" charset="0"/>
            </a:endParaRP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smtClean="0">
                <a:solidFill>
                  <a:srgbClr val="00B050"/>
                </a:solidFill>
                <a:latin typeface="Intel Clear" panose="020B0604020203020204" pitchFamily="34" charset="0"/>
              </a:rPr>
              <a:t>It offers several development environments (from web base to command line); full Arduino support and interoperability; full-featured Linux software stack; out-of-the-box Cloud connectivity; and a plug-n-play setup procedure. 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dirty="0" smtClean="0">
              <a:solidFill>
                <a:srgbClr val="00B050"/>
              </a:solidFill>
              <a:latin typeface="Intel Clear" panose="020B0604020203020204" pitchFamily="34" charset="0"/>
            </a:endParaRP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smtClean="0">
                <a:solidFill>
                  <a:srgbClr val="00B050"/>
                </a:solidFill>
                <a:latin typeface="Intel Clear" panose="020B0604020203020204" pitchFamily="34" charset="0"/>
              </a:rPr>
              <a:t>The DevKit’s universal base IO library allows to easily add support for hardware peripherals out of the box. </a:t>
            </a:r>
            <a:endParaRPr lang="en-US" dirty="0" smtClean="0"/>
          </a:p>
          <a:p>
            <a:endParaRPr lang="en-GB" dirty="0" smtClean="0"/>
          </a:p>
          <a:p>
            <a:r>
              <a:rPr lang="en-GB" dirty="0" smtClean="0"/>
              <a:t>REST= Representational</a:t>
            </a:r>
            <a:r>
              <a:rPr lang="en-GB" baseline="0" dirty="0" smtClean="0"/>
              <a:t> State Transfer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6363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Source –Brendan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chemeClr val="accent3"/>
                </a:solidFill>
              </a:rPr>
              <a:t>C API</a:t>
            </a:r>
          </a:p>
          <a:p>
            <a:pPr marL="455613" lvl="1" indent="-285750"/>
            <a:r>
              <a:rPr lang="en-GB" dirty="0" smtClean="0"/>
              <a:t>Base API works on the concept of 'contexts'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chemeClr val="accent3"/>
                </a:solidFill>
              </a:rPr>
              <a:t>C++ API</a:t>
            </a:r>
          </a:p>
          <a:p>
            <a:pPr marL="455613" lvl="1" indent="-285750"/>
            <a:r>
              <a:rPr lang="en-GB" dirty="0" smtClean="0"/>
              <a:t>Header only library</a:t>
            </a:r>
          </a:p>
          <a:p>
            <a:pPr marL="455613" lvl="1" indent="-285750"/>
            <a:r>
              <a:rPr lang="en-GB" dirty="0" smtClean="0"/>
              <a:t>'contexts' are represented by Ob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chemeClr val="accent3"/>
                </a:solidFill>
              </a:rPr>
              <a:t>JS (node.js) API</a:t>
            </a:r>
          </a:p>
          <a:p>
            <a:pPr marL="455613" lvl="1" indent="-285750"/>
            <a:r>
              <a:rPr lang="en-GB" dirty="0" smtClean="0"/>
              <a:t>Generated from C++ API using SWIG 3.x</a:t>
            </a:r>
          </a:p>
          <a:p>
            <a:pPr marL="455613" lvl="1" indent="-285750"/>
            <a:r>
              <a:rPr lang="en-GB" dirty="0" smtClean="0"/>
              <a:t>node.js 0.10.x minimu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chemeClr val="accent3"/>
                </a:solidFill>
              </a:rPr>
              <a:t>Python API</a:t>
            </a:r>
          </a:p>
          <a:p>
            <a:pPr marL="455613" lvl="1" indent="-285750"/>
            <a:r>
              <a:rPr lang="en-GB" dirty="0" smtClean="0"/>
              <a:t>Generated from C++ API using SWIG</a:t>
            </a:r>
          </a:p>
          <a:p>
            <a:pPr marL="455613" lvl="1" indent="-285750"/>
            <a:r>
              <a:rPr lang="en-GB" dirty="0" smtClean="0"/>
              <a:t>Python 2 &amp; 3 compatible</a:t>
            </a:r>
          </a:p>
          <a:p>
            <a:endParaRPr lang="en-GB" dirty="0" smtClean="0"/>
          </a:p>
          <a:p>
            <a:endParaRPr lang="en-GB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Platforms are detected using a C constructor</a:t>
            </a:r>
          </a:p>
          <a:p>
            <a:r>
              <a:rPr lang="en-GB" dirty="0" smtClean="0"/>
              <a:t>	getPlatformType() // mraa_get_platform_type()</a:t>
            </a:r>
          </a:p>
          <a:p>
            <a:r>
              <a:rPr lang="en-GB" dirty="0" smtClean="0"/>
              <a:t>	getPlatformName() // mraa_get_platform_name(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You don't link against a board, the API is completely arch/board specific</a:t>
            </a:r>
          </a:p>
          <a:p>
            <a:pPr marL="455613" lvl="1" indent="-285750"/>
            <a:r>
              <a:rPr lang="en-GB" dirty="0" smtClean="0"/>
              <a:t>Exception is x86 builds don't include arm or mips platform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Platform config can be queried but is 'read only'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Logging is done via syslog, pretty verbose when stuff goes wro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Platforms are defined using the pinmapper, which supports using muxes etc… but can include hooks for platforms that require 'special' func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Contexts can be initialised in 'raw' mode, meaning we ignore the pinmapper and use the kernel's numbering, used internally but can be useful for debugging &amp; unsupported platforms</a:t>
            </a:r>
          </a:p>
          <a:p>
            <a:r>
              <a:rPr lang="en-GB" dirty="0" smtClean="0">
                <a:solidFill>
                  <a:schemeClr val="tx1"/>
                </a:solidFill>
              </a:rPr>
              <a:t>More info: </a:t>
            </a:r>
            <a:r>
              <a:rPr lang="en-GB" dirty="0" smtClean="0">
                <a:solidFill>
                  <a:schemeClr val="accent1"/>
                </a:solidFill>
              </a:rPr>
              <a:t>http://iotdk.intel.com/docs/master/mraa/internals.html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31945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Source –Brendan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 smtClean="0">
              <a:solidFill>
                <a:schemeClr val="tx2"/>
              </a:solidFill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>
                <a:solidFill>
                  <a:schemeClr val="tx2"/>
                </a:solidFill>
              </a:rPr>
              <a:t>UPM provides not specific API, simply a style and a namespace.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 smtClean="0">
                <a:solidFill>
                  <a:schemeClr val="tx2"/>
                </a:solidFill>
              </a:rPr>
              <a:t>80+ sensor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 smtClean="0">
              <a:solidFill>
                <a:schemeClr val="tx2"/>
              </a:solidFill>
            </a:endParaRPr>
          </a:p>
          <a:p>
            <a:pPr marL="511175" lvl="1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1"/>
                </a:solidFill>
              </a:rPr>
              <a:t>UPM</a:t>
            </a:r>
            <a:r>
              <a:rPr lang="en-US" dirty="0" smtClean="0">
                <a:solidFill>
                  <a:schemeClr val="tx1"/>
                </a:solidFill>
              </a:rPr>
              <a:t> is a high-level repository of sensor representations, written in C++, utilizing the MRAA library. Certain sensors have a corresponding class in UPM, offering an object representation of this sensor and some useful functions specific to that sensor. </a:t>
            </a:r>
          </a:p>
          <a:p>
            <a:pPr marL="511175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It is made of multiple C++ and/or C libraries that are individually linked to libmraa</a:t>
            </a:r>
          </a:p>
          <a:p>
            <a:pPr marL="511175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It includes all the correct build wrappers for sensor manufacturer and/or the community to be able to easily extend and add sensors</a:t>
            </a:r>
          </a:p>
          <a:p>
            <a:pPr marL="511175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It will be maintained by Intel and follow the github workflow (fork, commit, pull request, review, merge)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2741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Source –Matthias</a:t>
            </a:r>
          </a:p>
          <a:p>
            <a:endParaRPr lang="en-GB" dirty="0" smtClean="0"/>
          </a:p>
          <a:p>
            <a:r>
              <a:rPr lang="en-GB" dirty="0" smtClean="0"/>
              <a:t>REST</a:t>
            </a:r>
            <a:r>
              <a:rPr lang="en-GB" baseline="0" dirty="0" smtClean="0"/>
              <a:t> – Representational State Transfer</a:t>
            </a:r>
          </a:p>
          <a:p>
            <a:r>
              <a:rPr lang="en-GB" baseline="0" dirty="0" smtClean="0"/>
              <a:t>	Resource based, Representations, constraint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3937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Attribution: Resource image: 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orelaborate.psesd.org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47484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Attribution : Good luck image 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kendalrugby.co.uk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1357736064_0.jpg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                  Call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 action image 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www.bluecowcreative.ca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call-to-action.jpg</a:t>
            </a:r>
            <a:endParaRPr lang="en-US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663585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Source – Gail Hanl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386174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Source – Gail Hanlon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487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43479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This is</a:t>
            </a:r>
            <a:r>
              <a:rPr lang="en-GB" baseline="0" dirty="0" smtClean="0"/>
              <a:t> what we will see in this session.  </a:t>
            </a:r>
          </a:p>
          <a:p>
            <a:r>
              <a:rPr lang="en-GB" baseline="0" dirty="0" smtClean="0"/>
              <a:t>All innovative heads working on Intel IoT platforms to generate an innovative solution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873988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800" b="0" i="0" kern="1200" dirty="0" smtClean="0">
                <a:solidFill>
                  <a:schemeClr val="tx1"/>
                </a:solidFill>
                <a:effectLst/>
                <a:latin typeface="Intel Clear" panose="020B0604020203020204" pitchFamily="34" charset="0"/>
                <a:ea typeface="+mn-ea"/>
                <a:cs typeface="+mn-cs"/>
              </a:rPr>
              <a:t>In the future, we will see wearable products created by companies that have historically never used silicon before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800" b="0" i="0" kern="1200" dirty="0" smtClean="0">
                <a:solidFill>
                  <a:schemeClr val="tx1"/>
                </a:solidFill>
                <a:effectLst/>
                <a:latin typeface="Intel Clear" panose="020B0604020203020204" pitchFamily="34" charset="0"/>
                <a:ea typeface="+mn-ea"/>
                <a:cs typeface="+mn-cs"/>
              </a:rPr>
              <a:t>It’s now up to the ecosystem to innovate with this technology; rings, bags, bracelets, pendants and yes, buttons, will all be possible.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800" b="0" i="0" kern="1200" dirty="0" smtClean="0">
              <a:solidFill>
                <a:schemeClr val="tx1"/>
              </a:solidFill>
              <a:effectLst/>
              <a:latin typeface="Intel Clear" panose="020B0604020203020204" pitchFamily="34" charset="0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800" b="0" i="0" kern="1200" dirty="0" smtClean="0">
                <a:solidFill>
                  <a:schemeClr val="tx1"/>
                </a:solidFill>
                <a:effectLst/>
                <a:latin typeface="Intel Clear" panose="020B0604020203020204" pitchFamily="34" charset="0"/>
                <a:ea typeface="+mn-ea"/>
                <a:cs typeface="+mn-cs"/>
              </a:rPr>
              <a:t>This SoC is ideal for “always-on” applications such as social notifications and sports activities.</a:t>
            </a:r>
            <a:br>
              <a:rPr lang="en-GB" sz="1800" b="0" i="0" kern="1200" dirty="0" smtClean="0">
                <a:solidFill>
                  <a:schemeClr val="tx1"/>
                </a:solidFill>
                <a:effectLst/>
                <a:latin typeface="Intel Clear" panose="020B0604020203020204" pitchFamily="34" charset="0"/>
                <a:ea typeface="+mn-ea"/>
                <a:cs typeface="+mn-cs"/>
              </a:rPr>
            </a:br>
            <a:endParaRPr lang="en-GB" sz="1800" b="0" i="0" kern="1200" dirty="0" smtClean="0">
              <a:solidFill>
                <a:schemeClr val="tx1"/>
              </a:solidFill>
              <a:effectLst/>
              <a:latin typeface="Intel Clear" panose="020B0604020203020204" pitchFamily="34" charset="0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tel® IQ Software Kits include the embedded software that runs on the module together with companion smartphone applications and associated cloud capabilities</a:t>
            </a:r>
            <a:br>
              <a:rPr lang="en-GB" sz="120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GB" sz="120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3735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Why</a:t>
            </a:r>
            <a:r>
              <a:rPr lang="en-GB" baseline="0" dirty="0" smtClean="0"/>
              <a:t> we are here today?</a:t>
            </a:r>
          </a:p>
          <a:p>
            <a:endParaRPr lang="en-GB" dirty="0" smtClean="0"/>
          </a:p>
          <a:p>
            <a:endParaRPr lang="en-GB" dirty="0" smtClean="0"/>
          </a:p>
          <a:p>
            <a:pPr marL="171450" marR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smtClean="0"/>
              <a:t>Source - Christos  Georgiopoulos email</a:t>
            </a:r>
          </a:p>
          <a:p>
            <a:pPr marL="171450" marR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smtClean="0"/>
              <a:t>2014 IoT review</a:t>
            </a:r>
          </a:p>
          <a:p>
            <a:pPr marL="171450" marR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smtClean="0"/>
              <a:t>Connected devices at 50 billion by 2020</a:t>
            </a:r>
          </a:p>
          <a:p>
            <a:pPr marL="171450" marR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8330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Source –IDF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7287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$7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9501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smtClean="0"/>
              <a:t>Source –IDF</a:t>
            </a:r>
          </a:p>
          <a:p>
            <a:pPr marL="171450" marR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smtClean="0"/>
              <a:t>$47</a:t>
            </a:r>
            <a:endParaRPr lang="en-US" dirty="0" smtClean="0"/>
          </a:p>
          <a:p>
            <a:pPr marL="171450" marR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 smtClean="0"/>
          </a:p>
          <a:p>
            <a:pPr marL="171450" marR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Intel® Edison is a SoM (SoC on Module) with a 22nm dual core 500Mhz atom and </a:t>
            </a:r>
          </a:p>
          <a:p>
            <a:pPr marL="171450" marR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a 100Mhz quark MCU running Viper OS</a:t>
            </a:r>
          </a:p>
          <a:p>
            <a:pPr marL="171450" marR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Has a 802.11n + BT4.0 Broadcom® chip with a built-in antenna</a:t>
            </a:r>
          </a:p>
          <a:p>
            <a:pPr marL="171450" marR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Uses a 70pin connector to connect to baseboards, 40 GPIOs, 2 UARTS, 2 I2C, SPI, I2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 smtClean="0"/>
              <a:t>Millions</a:t>
            </a:r>
            <a:r>
              <a:rPr lang="en-GB" baseline="0" dirty="0" smtClean="0"/>
              <a:t> of transfers per se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02.11n clients – (Wi-Fi a/b/g/n)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upport 1Mbps to 150MBP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 b="0" i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 b="0" i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l Edison is a collection of hardware, software, services and support all designed to enable rapid innovation and product development by a range of inventors, entrepreneurs and consumer product designers looking to create innovative Internet-connected Wearables or other small form factor devices.</a:t>
            </a: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es a 22nm Intel® SoC that includes a dual core, dual threaded Intel® Atom™ CPU at 500MHz and a 32-bit Intel® Quark™ microcontroller at 100 MHz. It supports 40 GPIOs and includes 1GB LPDDR3, 4 GB EMMC, and dual-band Wi-Fi and BTLE on a module slighter larger than a postage stamp.  </a:t>
            </a:r>
          </a:p>
          <a:p>
            <a:pPr lvl="0"/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itially supports development with Arduino* and C/C++, followed by Node.JS, Python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TOS support in the near future. 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cludes a device-to-device and device-to-cloud connectivity framework to enable cross-device communication and a cloud-based, multi-tenant, time-series analytics servic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23261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171450" marR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smtClean="0"/>
              <a:t>Source –IDF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171450" marR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smtClean="0"/>
              <a:t>$90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3124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smtClean="0"/>
              <a:t>Source –IDF</a:t>
            </a:r>
          </a:p>
          <a:p>
            <a:pPr marL="171450" marR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smtClean="0"/>
              <a:t>$60</a:t>
            </a:r>
            <a:endParaRPr lang="en-US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 err="1" smtClean="0"/>
              <a:t>Sparkfun</a:t>
            </a:r>
            <a:r>
              <a:rPr lang="en-GB" baseline="0" dirty="0" smtClean="0"/>
              <a:t> boards are also coming soon. </a:t>
            </a: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0955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C8689-8455-3546-ADF9-3B7273760F66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922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0739" y="2221197"/>
            <a:ext cx="8212886" cy="1102519"/>
          </a:xfrm>
        </p:spPr>
        <p:txBody>
          <a:bodyPr lIns="0" rIns="0" anchor="b" anchorCtr="0">
            <a:noAutofit/>
          </a:bodyPr>
          <a:lstStyle>
            <a:lvl1pPr>
              <a:defRPr sz="2800" baseline="0">
                <a:solidFill>
                  <a:schemeClr val="bg1"/>
                </a:solidFill>
                <a:latin typeface="+mj-lt"/>
                <a:cs typeface="Intel Clear Light" panose="020B0404020203020204" pitchFamily="34" charset="0"/>
              </a:defRPr>
            </a:lvl1pPr>
          </a:lstStyle>
          <a:p>
            <a:r>
              <a:rPr lang="en-US" dirty="0" err="1" smtClean="0"/>
              <a:t>28pt</a:t>
            </a:r>
            <a:r>
              <a:rPr lang="en-US" dirty="0" smtClean="0"/>
              <a:t> Intel Clear Light Presentation Title</a:t>
            </a:r>
            <a:br>
              <a:rPr lang="en-US" dirty="0" smtClean="0"/>
            </a:br>
            <a:r>
              <a:rPr lang="en-US" dirty="0" smtClean="0"/>
              <a:t>Title of Presentation Line Tw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5613" y="3488723"/>
            <a:ext cx="6330212" cy="925360"/>
          </a:xfrm>
        </p:spPr>
        <p:txBody>
          <a:bodyPr lIns="0" rIns="0">
            <a:noAutofit/>
          </a:bodyPr>
          <a:lstStyle>
            <a:lvl1pPr marL="0" indent="0" algn="l">
              <a:buNone/>
              <a:defRPr sz="1200" b="1" baseline="0">
                <a:solidFill>
                  <a:schemeClr val="bg1"/>
                </a:solidFill>
                <a:latin typeface="+mn-lt"/>
                <a:cs typeface="Intel Clear" panose="020B0604020203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12pt</a:t>
            </a:r>
            <a:r>
              <a:rPr lang="en-US" dirty="0" smtClean="0"/>
              <a:t> Intel Clear Bolded Subhead, Date, Etc.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455613" y="4813300"/>
            <a:ext cx="168796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 rtl="0"/>
            <a:r>
              <a:rPr lang="en-US" sz="800" b="0" i="0" u="none" strike="noStrike" kern="1200" baseline="0" dirty="0" smtClean="0">
                <a:solidFill>
                  <a:schemeClr val="accent3"/>
                </a:solidFill>
                <a:latin typeface="+mn-lt"/>
                <a:ea typeface="+mn-ea"/>
                <a:cs typeface="Neo Sans Intel"/>
              </a:rPr>
              <a:t>Intel Confidential — Do Not Forward</a:t>
            </a:r>
          </a:p>
        </p:txBody>
      </p:sp>
      <p:pic>
        <p:nvPicPr>
          <p:cNvPr id="9" name="Picture 3" descr="W:\Clients\Intel\PRODUCTION\2012_13_Production\ASSETS_LOGOS_2012-13\Assets_Complete_2012-13\ PEEL AWAY\Intel_Peels\Intel_Peels_RGB\Peel_rgb_png\peel_rt_btm_drkBlue_rgb_216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535" y="4035643"/>
            <a:ext cx="1426464" cy="110286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6572" y="1432296"/>
            <a:ext cx="2049636" cy="57526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971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White 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13" y="1619587"/>
            <a:ext cx="7772400" cy="1021556"/>
          </a:xfrm>
        </p:spPr>
        <p:txBody>
          <a:bodyPr anchor="b" anchorCtr="0">
            <a:noAutofit/>
          </a:bodyPr>
          <a:lstStyle>
            <a:lvl1pPr algn="l">
              <a:defRPr sz="2800" b="0" cap="none">
                <a:solidFill>
                  <a:schemeClr val="accent1"/>
                </a:solidFill>
                <a:latin typeface="+mj-lt"/>
                <a:cs typeface="Intel Clear Light" panose="020B0404020203020204" pitchFamily="34" charset="0"/>
              </a:defRPr>
            </a:lvl1pPr>
          </a:lstStyle>
          <a:p>
            <a:r>
              <a:rPr lang="en-US" dirty="0" err="1" smtClean="0"/>
              <a:t>28pt</a:t>
            </a:r>
            <a:r>
              <a:rPr lang="en-US" dirty="0" smtClean="0"/>
              <a:t> Intel Clear Light Tex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5613" y="2752675"/>
            <a:ext cx="7772400" cy="1125140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 baseline="0">
                <a:solidFill>
                  <a:schemeClr val="accent2"/>
                </a:solidFill>
                <a:latin typeface="+mn-lt"/>
                <a:cs typeface="Intel Clear" panose="020B0604020203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12pt</a:t>
            </a:r>
            <a:r>
              <a:rPr lang="en-US" dirty="0" smtClean="0"/>
              <a:t> Intel Clear Bolded Subhead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2556C5-CE8C-6547-B838-EA80C61A4A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72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\\.psf\Home\Desktop\WideFooterAIRev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" y="4806834"/>
            <a:ext cx="9144000" cy="33666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55613" y="1619587"/>
            <a:ext cx="7772400" cy="1021556"/>
          </a:xfrm>
        </p:spPr>
        <p:txBody>
          <a:bodyPr anchor="b" anchorCtr="0">
            <a:noAutofit/>
          </a:bodyPr>
          <a:lstStyle>
            <a:lvl1pPr algn="l">
              <a:defRPr sz="2800" b="0" cap="none">
                <a:solidFill>
                  <a:schemeClr val="bg1"/>
                </a:solidFill>
                <a:latin typeface="+mj-lt"/>
                <a:cs typeface="Intel Clear Light" panose="020B0404020203020204" pitchFamily="34" charset="0"/>
              </a:defRPr>
            </a:lvl1pPr>
          </a:lstStyle>
          <a:p>
            <a:r>
              <a:rPr lang="en-US" dirty="0" err="1" smtClean="0"/>
              <a:t>28pt</a:t>
            </a:r>
            <a:r>
              <a:rPr lang="en-US" dirty="0" smtClean="0"/>
              <a:t> Intel Clear Light Tex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 hasCustomPrompt="1"/>
          </p:nvPr>
        </p:nvSpPr>
        <p:spPr>
          <a:xfrm>
            <a:off x="455613" y="2752675"/>
            <a:ext cx="7772400" cy="1125140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 baseline="0">
                <a:solidFill>
                  <a:schemeClr val="accent3"/>
                </a:solidFill>
                <a:latin typeface="+mn-lt"/>
                <a:cs typeface="Intel Clear" panose="020B0604020203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12pt</a:t>
            </a:r>
            <a:r>
              <a:rPr lang="en-US" dirty="0" smtClean="0"/>
              <a:t> Intel Clear Bolded Subhead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E2556C5-CE8C-6547-B838-EA80C61A4A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0112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Section Break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\\.psf\Home\Desktop\WideFooterAIRev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" y="4806834"/>
            <a:ext cx="9144000" cy="33666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13" y="2153552"/>
            <a:ext cx="7772400" cy="1021556"/>
          </a:xfrm>
        </p:spPr>
        <p:txBody>
          <a:bodyPr anchor="b" anchorCtr="0">
            <a:noAutofit/>
          </a:bodyPr>
          <a:lstStyle>
            <a:lvl1pPr algn="l">
              <a:defRPr sz="2800" b="0" cap="none">
                <a:solidFill>
                  <a:schemeClr val="bg1"/>
                </a:solidFill>
                <a:latin typeface="+mj-lt"/>
                <a:cs typeface="Intel Clear Light" panose="020B0404020203020204" pitchFamily="34" charset="0"/>
              </a:defRPr>
            </a:lvl1pPr>
          </a:lstStyle>
          <a:p>
            <a:r>
              <a:rPr lang="en-US" dirty="0" err="1" smtClean="0"/>
              <a:t>28pt</a:t>
            </a:r>
            <a:r>
              <a:rPr lang="en-US" dirty="0" smtClean="0"/>
              <a:t> Intel Clear Light Tex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5613" y="3286641"/>
            <a:ext cx="7772400" cy="1125140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accent3"/>
                </a:solidFill>
                <a:latin typeface="+mn-lt"/>
                <a:cs typeface="Intel Clear" panose="020B0604020203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12pt</a:t>
            </a:r>
            <a:r>
              <a:rPr lang="en-US" dirty="0" smtClean="0"/>
              <a:t> Intel Clear Bolded Subhead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E2556C5-CE8C-6547-B838-EA80C61A4A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9144000" cy="2574131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762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13" y="308848"/>
            <a:ext cx="8228012" cy="8686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28pt</a:t>
            </a:r>
            <a:r>
              <a:rPr lang="en-US" dirty="0" smtClean="0"/>
              <a:t> Intel Clear Light Headlin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71775"/>
            <a:ext cx="2133600" cy="2738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716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8961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 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55613" y="4813300"/>
            <a:ext cx="168796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 rtl="0"/>
            <a:r>
              <a:rPr lang="en-US" sz="800" b="0" i="0" u="none" strike="noStrike" kern="1200" baseline="0" dirty="0" smtClean="0">
                <a:solidFill>
                  <a:schemeClr val="accent3"/>
                </a:solidFill>
                <a:latin typeface="+mn-lt"/>
                <a:ea typeface="+mn-ea"/>
                <a:cs typeface="Neo Sans Intel"/>
              </a:rPr>
              <a:t>Intel Confidential — Do Not Forward</a:t>
            </a:r>
          </a:p>
        </p:txBody>
      </p:sp>
      <p:pic>
        <p:nvPicPr>
          <p:cNvPr id="4" name="Picture 2" descr="\\.psf\Home\Desktop\Intel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7432" y="1875130"/>
            <a:ext cx="2108795" cy="13898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3636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0739" y="2355675"/>
            <a:ext cx="8212886" cy="1102519"/>
          </a:xfrm>
        </p:spPr>
        <p:txBody>
          <a:bodyPr lIns="0" rIns="0" anchor="b" anchorCtr="0">
            <a:noAutofit/>
          </a:bodyPr>
          <a:lstStyle>
            <a:lvl1pPr>
              <a:defRPr sz="2800" baseline="0">
                <a:solidFill>
                  <a:schemeClr val="bg1"/>
                </a:solidFill>
                <a:latin typeface="+mj-lt"/>
                <a:cs typeface="Intel Clear Light" panose="020B0404020203020204" pitchFamily="34" charset="0"/>
              </a:defRPr>
            </a:lvl1pPr>
          </a:lstStyle>
          <a:p>
            <a:r>
              <a:rPr lang="en-US" dirty="0" err="1" smtClean="0"/>
              <a:t>28pt</a:t>
            </a:r>
            <a:r>
              <a:rPr lang="en-US" dirty="0" smtClean="0"/>
              <a:t> Intel Clear Light Presentation Title</a:t>
            </a:r>
            <a:br>
              <a:rPr lang="en-US" dirty="0" smtClean="0"/>
            </a:br>
            <a:r>
              <a:rPr lang="en-US" dirty="0" smtClean="0"/>
              <a:t>Title of Presentation Line Tw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5613" y="3623201"/>
            <a:ext cx="6330212" cy="925360"/>
          </a:xfrm>
        </p:spPr>
        <p:txBody>
          <a:bodyPr lIns="0" rIns="0">
            <a:noAutofit/>
          </a:bodyPr>
          <a:lstStyle>
            <a:lvl1pPr marL="0" indent="0" algn="l">
              <a:buNone/>
              <a:defRPr sz="1200" b="1" baseline="0">
                <a:solidFill>
                  <a:srgbClr val="FFDA00"/>
                </a:solidFill>
                <a:latin typeface="+mn-lt"/>
                <a:cs typeface="Intel Clear" panose="020B0604020203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12pt</a:t>
            </a:r>
            <a:r>
              <a:rPr lang="en-US" dirty="0" smtClean="0"/>
              <a:t> Intel Clear Bolded Subhead, Date, Etc.</a:t>
            </a:r>
            <a:endParaRPr lang="en-US" dirty="0"/>
          </a:p>
        </p:txBody>
      </p:sp>
      <p:sp>
        <p:nvSpPr>
          <p:cNvPr id="8" name="Freeform 7"/>
          <p:cNvSpPr/>
          <p:nvPr userDrawn="1"/>
        </p:nvSpPr>
        <p:spPr>
          <a:xfrm>
            <a:off x="-7472" y="-10995"/>
            <a:ext cx="9152065" cy="531704"/>
          </a:xfrm>
          <a:custGeom>
            <a:avLst/>
            <a:gdLst>
              <a:gd name="connsiteX0" fmla="*/ 7471 w 9158942"/>
              <a:gd name="connsiteY0" fmla="*/ 0 h 911412"/>
              <a:gd name="connsiteX1" fmla="*/ 0 w 9158942"/>
              <a:gd name="connsiteY1" fmla="*/ 903941 h 911412"/>
              <a:gd name="connsiteX2" fmla="*/ 5393765 w 9158942"/>
              <a:gd name="connsiteY2" fmla="*/ 911412 h 911412"/>
              <a:gd name="connsiteX3" fmla="*/ 5909236 w 9158942"/>
              <a:gd name="connsiteY3" fmla="*/ 597647 h 911412"/>
              <a:gd name="connsiteX4" fmla="*/ 9151471 w 9158942"/>
              <a:gd name="connsiteY4" fmla="*/ 605118 h 911412"/>
              <a:gd name="connsiteX5" fmla="*/ 9158942 w 9158942"/>
              <a:gd name="connsiteY5" fmla="*/ 0 h 911412"/>
              <a:gd name="connsiteX6" fmla="*/ 7471 w 9158942"/>
              <a:gd name="connsiteY6" fmla="*/ 0 h 911412"/>
              <a:gd name="connsiteX0" fmla="*/ 7471 w 9158942"/>
              <a:gd name="connsiteY0" fmla="*/ 0 h 911412"/>
              <a:gd name="connsiteX1" fmla="*/ 0 w 9158942"/>
              <a:gd name="connsiteY1" fmla="*/ 903941 h 911412"/>
              <a:gd name="connsiteX2" fmla="*/ 5393765 w 9158942"/>
              <a:gd name="connsiteY2" fmla="*/ 911412 h 911412"/>
              <a:gd name="connsiteX3" fmla="*/ 5909236 w 9158942"/>
              <a:gd name="connsiteY3" fmla="*/ 597647 h 911412"/>
              <a:gd name="connsiteX4" fmla="*/ 9151471 w 9158942"/>
              <a:gd name="connsiteY4" fmla="*/ 591991 h 911412"/>
              <a:gd name="connsiteX5" fmla="*/ 9158942 w 9158942"/>
              <a:gd name="connsiteY5" fmla="*/ 0 h 911412"/>
              <a:gd name="connsiteX6" fmla="*/ 7471 w 9158942"/>
              <a:gd name="connsiteY6" fmla="*/ 0 h 911412"/>
              <a:gd name="connsiteX0" fmla="*/ 7471 w 9158942"/>
              <a:gd name="connsiteY0" fmla="*/ 0 h 911412"/>
              <a:gd name="connsiteX1" fmla="*/ 0 w 9158942"/>
              <a:gd name="connsiteY1" fmla="*/ 903941 h 911412"/>
              <a:gd name="connsiteX2" fmla="*/ 5393765 w 9158942"/>
              <a:gd name="connsiteY2" fmla="*/ 911412 h 911412"/>
              <a:gd name="connsiteX3" fmla="*/ 5909236 w 9158942"/>
              <a:gd name="connsiteY3" fmla="*/ 597647 h 911412"/>
              <a:gd name="connsiteX4" fmla="*/ 9148189 w 9158942"/>
              <a:gd name="connsiteY4" fmla="*/ 601837 h 911412"/>
              <a:gd name="connsiteX5" fmla="*/ 9158942 w 9158942"/>
              <a:gd name="connsiteY5" fmla="*/ 0 h 911412"/>
              <a:gd name="connsiteX6" fmla="*/ 7471 w 9158942"/>
              <a:gd name="connsiteY6" fmla="*/ 0 h 911412"/>
              <a:gd name="connsiteX0" fmla="*/ 7471 w 9148711"/>
              <a:gd name="connsiteY0" fmla="*/ 0 h 911412"/>
              <a:gd name="connsiteX1" fmla="*/ 0 w 9148711"/>
              <a:gd name="connsiteY1" fmla="*/ 903941 h 911412"/>
              <a:gd name="connsiteX2" fmla="*/ 5393765 w 9148711"/>
              <a:gd name="connsiteY2" fmla="*/ 911412 h 911412"/>
              <a:gd name="connsiteX3" fmla="*/ 5909236 w 9148711"/>
              <a:gd name="connsiteY3" fmla="*/ 597647 h 911412"/>
              <a:gd name="connsiteX4" fmla="*/ 9148189 w 9148711"/>
              <a:gd name="connsiteY4" fmla="*/ 601837 h 911412"/>
              <a:gd name="connsiteX5" fmla="*/ 9145816 w 9148711"/>
              <a:gd name="connsiteY5" fmla="*/ 0 h 911412"/>
              <a:gd name="connsiteX6" fmla="*/ 7471 w 9148711"/>
              <a:gd name="connsiteY6" fmla="*/ 0 h 911412"/>
              <a:gd name="connsiteX0" fmla="*/ 7471 w 9155661"/>
              <a:gd name="connsiteY0" fmla="*/ 0 h 911412"/>
              <a:gd name="connsiteX1" fmla="*/ 0 w 9155661"/>
              <a:gd name="connsiteY1" fmla="*/ 903941 h 911412"/>
              <a:gd name="connsiteX2" fmla="*/ 5393765 w 9155661"/>
              <a:gd name="connsiteY2" fmla="*/ 911412 h 911412"/>
              <a:gd name="connsiteX3" fmla="*/ 5909236 w 9155661"/>
              <a:gd name="connsiteY3" fmla="*/ 597647 h 911412"/>
              <a:gd name="connsiteX4" fmla="*/ 9148189 w 9155661"/>
              <a:gd name="connsiteY4" fmla="*/ 601837 h 911412"/>
              <a:gd name="connsiteX5" fmla="*/ 9155661 w 9155661"/>
              <a:gd name="connsiteY5" fmla="*/ 0 h 911412"/>
              <a:gd name="connsiteX6" fmla="*/ 7471 w 9155661"/>
              <a:gd name="connsiteY6" fmla="*/ 0 h 911412"/>
              <a:gd name="connsiteX0" fmla="*/ 7471 w 9158556"/>
              <a:gd name="connsiteY0" fmla="*/ 0 h 911412"/>
              <a:gd name="connsiteX1" fmla="*/ 0 w 9158556"/>
              <a:gd name="connsiteY1" fmla="*/ 903941 h 911412"/>
              <a:gd name="connsiteX2" fmla="*/ 5393765 w 9158556"/>
              <a:gd name="connsiteY2" fmla="*/ 911412 h 911412"/>
              <a:gd name="connsiteX3" fmla="*/ 5909236 w 9158556"/>
              <a:gd name="connsiteY3" fmla="*/ 597647 h 911412"/>
              <a:gd name="connsiteX4" fmla="*/ 9158034 w 9158556"/>
              <a:gd name="connsiteY4" fmla="*/ 598555 h 911412"/>
              <a:gd name="connsiteX5" fmla="*/ 9155661 w 9158556"/>
              <a:gd name="connsiteY5" fmla="*/ 0 h 911412"/>
              <a:gd name="connsiteX6" fmla="*/ 7471 w 9158556"/>
              <a:gd name="connsiteY6" fmla="*/ 0 h 911412"/>
              <a:gd name="connsiteX0" fmla="*/ 7471 w 9155661"/>
              <a:gd name="connsiteY0" fmla="*/ 0 h 911412"/>
              <a:gd name="connsiteX1" fmla="*/ 0 w 9155661"/>
              <a:gd name="connsiteY1" fmla="*/ 903941 h 911412"/>
              <a:gd name="connsiteX2" fmla="*/ 5393765 w 9155661"/>
              <a:gd name="connsiteY2" fmla="*/ 911412 h 911412"/>
              <a:gd name="connsiteX3" fmla="*/ 5909236 w 9155661"/>
              <a:gd name="connsiteY3" fmla="*/ 597647 h 911412"/>
              <a:gd name="connsiteX4" fmla="*/ 9151470 w 9155661"/>
              <a:gd name="connsiteY4" fmla="*/ 595274 h 911412"/>
              <a:gd name="connsiteX5" fmla="*/ 9155661 w 9155661"/>
              <a:gd name="connsiteY5" fmla="*/ 0 h 911412"/>
              <a:gd name="connsiteX6" fmla="*/ 7471 w 9155661"/>
              <a:gd name="connsiteY6" fmla="*/ 0 h 911412"/>
              <a:gd name="connsiteX0" fmla="*/ 522 w 9158557"/>
              <a:gd name="connsiteY0" fmla="*/ 0 h 911412"/>
              <a:gd name="connsiteX1" fmla="*/ 2896 w 9158557"/>
              <a:gd name="connsiteY1" fmla="*/ 903941 h 911412"/>
              <a:gd name="connsiteX2" fmla="*/ 5396661 w 9158557"/>
              <a:gd name="connsiteY2" fmla="*/ 911412 h 911412"/>
              <a:gd name="connsiteX3" fmla="*/ 5912132 w 9158557"/>
              <a:gd name="connsiteY3" fmla="*/ 597647 h 911412"/>
              <a:gd name="connsiteX4" fmla="*/ 9154366 w 9158557"/>
              <a:gd name="connsiteY4" fmla="*/ 595274 h 911412"/>
              <a:gd name="connsiteX5" fmla="*/ 9158557 w 9158557"/>
              <a:gd name="connsiteY5" fmla="*/ 0 h 911412"/>
              <a:gd name="connsiteX6" fmla="*/ 522 w 9158557"/>
              <a:gd name="connsiteY6" fmla="*/ 0 h 911412"/>
              <a:gd name="connsiteX0" fmla="*/ 522 w 9158557"/>
              <a:gd name="connsiteY0" fmla="*/ 0 h 917068"/>
              <a:gd name="connsiteX1" fmla="*/ 2896 w 9158557"/>
              <a:gd name="connsiteY1" fmla="*/ 917068 h 917068"/>
              <a:gd name="connsiteX2" fmla="*/ 5396661 w 9158557"/>
              <a:gd name="connsiteY2" fmla="*/ 911412 h 917068"/>
              <a:gd name="connsiteX3" fmla="*/ 5912132 w 9158557"/>
              <a:gd name="connsiteY3" fmla="*/ 597647 h 917068"/>
              <a:gd name="connsiteX4" fmla="*/ 9154366 w 9158557"/>
              <a:gd name="connsiteY4" fmla="*/ 595274 h 917068"/>
              <a:gd name="connsiteX5" fmla="*/ 9158557 w 9158557"/>
              <a:gd name="connsiteY5" fmla="*/ 0 h 917068"/>
              <a:gd name="connsiteX6" fmla="*/ 522 w 9158557"/>
              <a:gd name="connsiteY6" fmla="*/ 0 h 917068"/>
              <a:gd name="connsiteX0" fmla="*/ 522 w 9158557"/>
              <a:gd name="connsiteY0" fmla="*/ 0 h 911412"/>
              <a:gd name="connsiteX1" fmla="*/ 2896 w 9158557"/>
              <a:gd name="connsiteY1" fmla="*/ 910555 h 911412"/>
              <a:gd name="connsiteX2" fmla="*/ 5396661 w 9158557"/>
              <a:gd name="connsiteY2" fmla="*/ 911412 h 911412"/>
              <a:gd name="connsiteX3" fmla="*/ 5912132 w 9158557"/>
              <a:gd name="connsiteY3" fmla="*/ 597647 h 911412"/>
              <a:gd name="connsiteX4" fmla="*/ 9154366 w 9158557"/>
              <a:gd name="connsiteY4" fmla="*/ 595274 h 911412"/>
              <a:gd name="connsiteX5" fmla="*/ 9158557 w 9158557"/>
              <a:gd name="connsiteY5" fmla="*/ 0 h 911412"/>
              <a:gd name="connsiteX6" fmla="*/ 522 w 9158557"/>
              <a:gd name="connsiteY6" fmla="*/ 0 h 911412"/>
              <a:gd name="connsiteX0" fmla="*/ 80091 w 9155661"/>
              <a:gd name="connsiteY0" fmla="*/ 241917 h 911412"/>
              <a:gd name="connsiteX1" fmla="*/ 0 w 9155661"/>
              <a:gd name="connsiteY1" fmla="*/ 910555 h 911412"/>
              <a:gd name="connsiteX2" fmla="*/ 5393765 w 9155661"/>
              <a:gd name="connsiteY2" fmla="*/ 911412 h 911412"/>
              <a:gd name="connsiteX3" fmla="*/ 5909236 w 9155661"/>
              <a:gd name="connsiteY3" fmla="*/ 597647 h 911412"/>
              <a:gd name="connsiteX4" fmla="*/ 9151470 w 9155661"/>
              <a:gd name="connsiteY4" fmla="*/ 595274 h 911412"/>
              <a:gd name="connsiteX5" fmla="*/ 9155661 w 9155661"/>
              <a:gd name="connsiteY5" fmla="*/ 0 h 911412"/>
              <a:gd name="connsiteX6" fmla="*/ 80091 w 9155661"/>
              <a:gd name="connsiteY6" fmla="*/ 241917 h 911412"/>
              <a:gd name="connsiteX0" fmla="*/ 3124 w 9155661"/>
              <a:gd name="connsiteY0" fmla="*/ 175940 h 911412"/>
              <a:gd name="connsiteX1" fmla="*/ 0 w 9155661"/>
              <a:gd name="connsiteY1" fmla="*/ 910555 h 911412"/>
              <a:gd name="connsiteX2" fmla="*/ 5393765 w 9155661"/>
              <a:gd name="connsiteY2" fmla="*/ 911412 h 911412"/>
              <a:gd name="connsiteX3" fmla="*/ 5909236 w 9155661"/>
              <a:gd name="connsiteY3" fmla="*/ 597647 h 911412"/>
              <a:gd name="connsiteX4" fmla="*/ 9151470 w 9155661"/>
              <a:gd name="connsiteY4" fmla="*/ 595274 h 911412"/>
              <a:gd name="connsiteX5" fmla="*/ 9155661 w 9155661"/>
              <a:gd name="connsiteY5" fmla="*/ 0 h 911412"/>
              <a:gd name="connsiteX6" fmla="*/ 3124 w 9155661"/>
              <a:gd name="connsiteY6" fmla="*/ 175940 h 911412"/>
              <a:gd name="connsiteX0" fmla="*/ 3124 w 9155661"/>
              <a:gd name="connsiteY0" fmla="*/ 146617 h 911412"/>
              <a:gd name="connsiteX1" fmla="*/ 0 w 9155661"/>
              <a:gd name="connsiteY1" fmla="*/ 910555 h 911412"/>
              <a:gd name="connsiteX2" fmla="*/ 5393765 w 9155661"/>
              <a:gd name="connsiteY2" fmla="*/ 911412 h 911412"/>
              <a:gd name="connsiteX3" fmla="*/ 5909236 w 9155661"/>
              <a:gd name="connsiteY3" fmla="*/ 597647 h 911412"/>
              <a:gd name="connsiteX4" fmla="*/ 9151470 w 9155661"/>
              <a:gd name="connsiteY4" fmla="*/ 595274 h 911412"/>
              <a:gd name="connsiteX5" fmla="*/ 9155661 w 9155661"/>
              <a:gd name="connsiteY5" fmla="*/ 0 h 911412"/>
              <a:gd name="connsiteX6" fmla="*/ 3124 w 9155661"/>
              <a:gd name="connsiteY6" fmla="*/ 146617 h 911412"/>
              <a:gd name="connsiteX0" fmla="*/ 3124 w 9151521"/>
              <a:gd name="connsiteY0" fmla="*/ 0 h 764795"/>
              <a:gd name="connsiteX1" fmla="*/ 0 w 9151521"/>
              <a:gd name="connsiteY1" fmla="*/ 763938 h 764795"/>
              <a:gd name="connsiteX2" fmla="*/ 5393765 w 9151521"/>
              <a:gd name="connsiteY2" fmla="*/ 764795 h 764795"/>
              <a:gd name="connsiteX3" fmla="*/ 5909236 w 9151521"/>
              <a:gd name="connsiteY3" fmla="*/ 451030 h 764795"/>
              <a:gd name="connsiteX4" fmla="*/ 9151470 w 9151521"/>
              <a:gd name="connsiteY4" fmla="*/ 448657 h 764795"/>
              <a:gd name="connsiteX5" fmla="*/ 9067698 w 9151521"/>
              <a:gd name="connsiteY5" fmla="*/ 21992 h 764795"/>
              <a:gd name="connsiteX6" fmla="*/ 3124 w 9151521"/>
              <a:gd name="connsiteY6" fmla="*/ 0 h 764795"/>
              <a:gd name="connsiteX0" fmla="*/ 3124 w 9152065"/>
              <a:gd name="connsiteY0" fmla="*/ 0 h 764795"/>
              <a:gd name="connsiteX1" fmla="*/ 0 w 9152065"/>
              <a:gd name="connsiteY1" fmla="*/ 763938 h 764795"/>
              <a:gd name="connsiteX2" fmla="*/ 5393765 w 9152065"/>
              <a:gd name="connsiteY2" fmla="*/ 764795 h 764795"/>
              <a:gd name="connsiteX3" fmla="*/ 5909236 w 9152065"/>
              <a:gd name="connsiteY3" fmla="*/ 451030 h 764795"/>
              <a:gd name="connsiteX4" fmla="*/ 9151470 w 9152065"/>
              <a:gd name="connsiteY4" fmla="*/ 448657 h 764795"/>
              <a:gd name="connsiteX5" fmla="*/ 9150163 w 9152065"/>
              <a:gd name="connsiteY5" fmla="*/ 14661 h 764795"/>
              <a:gd name="connsiteX6" fmla="*/ 3124 w 9152065"/>
              <a:gd name="connsiteY6" fmla="*/ 0 h 764795"/>
              <a:gd name="connsiteX0" fmla="*/ 3124 w 9152065"/>
              <a:gd name="connsiteY0" fmla="*/ 0 h 764795"/>
              <a:gd name="connsiteX1" fmla="*/ 0 w 9152065"/>
              <a:gd name="connsiteY1" fmla="*/ 697960 h 764795"/>
              <a:gd name="connsiteX2" fmla="*/ 5393765 w 9152065"/>
              <a:gd name="connsiteY2" fmla="*/ 764795 h 764795"/>
              <a:gd name="connsiteX3" fmla="*/ 5909236 w 9152065"/>
              <a:gd name="connsiteY3" fmla="*/ 451030 h 764795"/>
              <a:gd name="connsiteX4" fmla="*/ 9151470 w 9152065"/>
              <a:gd name="connsiteY4" fmla="*/ 448657 h 764795"/>
              <a:gd name="connsiteX5" fmla="*/ 9150163 w 9152065"/>
              <a:gd name="connsiteY5" fmla="*/ 14661 h 764795"/>
              <a:gd name="connsiteX6" fmla="*/ 3124 w 9152065"/>
              <a:gd name="connsiteY6" fmla="*/ 0 h 764795"/>
              <a:gd name="connsiteX0" fmla="*/ 3124 w 9152065"/>
              <a:gd name="connsiteY0" fmla="*/ 0 h 706148"/>
              <a:gd name="connsiteX1" fmla="*/ 0 w 9152065"/>
              <a:gd name="connsiteY1" fmla="*/ 697960 h 706148"/>
              <a:gd name="connsiteX2" fmla="*/ 5476230 w 9152065"/>
              <a:gd name="connsiteY2" fmla="*/ 706148 h 706148"/>
              <a:gd name="connsiteX3" fmla="*/ 5909236 w 9152065"/>
              <a:gd name="connsiteY3" fmla="*/ 451030 h 706148"/>
              <a:gd name="connsiteX4" fmla="*/ 9151470 w 9152065"/>
              <a:gd name="connsiteY4" fmla="*/ 448657 h 706148"/>
              <a:gd name="connsiteX5" fmla="*/ 9150163 w 9152065"/>
              <a:gd name="connsiteY5" fmla="*/ 14661 h 706148"/>
              <a:gd name="connsiteX6" fmla="*/ 3124 w 9152065"/>
              <a:gd name="connsiteY6" fmla="*/ 0 h 706148"/>
              <a:gd name="connsiteX0" fmla="*/ 3124 w 9152065"/>
              <a:gd name="connsiteY0" fmla="*/ 7331 h 713479"/>
              <a:gd name="connsiteX1" fmla="*/ 0 w 9152065"/>
              <a:gd name="connsiteY1" fmla="*/ 705291 h 713479"/>
              <a:gd name="connsiteX2" fmla="*/ 5476230 w 9152065"/>
              <a:gd name="connsiteY2" fmla="*/ 713479 h 713479"/>
              <a:gd name="connsiteX3" fmla="*/ 5909236 w 9152065"/>
              <a:gd name="connsiteY3" fmla="*/ 458361 h 713479"/>
              <a:gd name="connsiteX4" fmla="*/ 9151470 w 9152065"/>
              <a:gd name="connsiteY4" fmla="*/ 455988 h 713479"/>
              <a:gd name="connsiteX5" fmla="*/ 9150163 w 9152065"/>
              <a:gd name="connsiteY5" fmla="*/ 0 h 713479"/>
              <a:gd name="connsiteX6" fmla="*/ 3124 w 9152065"/>
              <a:gd name="connsiteY6" fmla="*/ 7331 h 713479"/>
              <a:gd name="connsiteX0" fmla="*/ 3124 w 9152065"/>
              <a:gd name="connsiteY0" fmla="*/ 7331 h 705291"/>
              <a:gd name="connsiteX1" fmla="*/ 0 w 9152065"/>
              <a:gd name="connsiteY1" fmla="*/ 705291 h 705291"/>
              <a:gd name="connsiteX2" fmla="*/ 5487226 w 9152065"/>
              <a:gd name="connsiteY2" fmla="*/ 691487 h 705291"/>
              <a:gd name="connsiteX3" fmla="*/ 5909236 w 9152065"/>
              <a:gd name="connsiteY3" fmla="*/ 458361 h 705291"/>
              <a:gd name="connsiteX4" fmla="*/ 9151470 w 9152065"/>
              <a:gd name="connsiteY4" fmla="*/ 455988 h 705291"/>
              <a:gd name="connsiteX5" fmla="*/ 9150163 w 9152065"/>
              <a:gd name="connsiteY5" fmla="*/ 0 h 705291"/>
              <a:gd name="connsiteX6" fmla="*/ 3124 w 9152065"/>
              <a:gd name="connsiteY6" fmla="*/ 7331 h 705291"/>
              <a:gd name="connsiteX0" fmla="*/ 3124 w 9152065"/>
              <a:gd name="connsiteY0" fmla="*/ 7331 h 713479"/>
              <a:gd name="connsiteX1" fmla="*/ 0 w 9152065"/>
              <a:gd name="connsiteY1" fmla="*/ 705291 h 713479"/>
              <a:gd name="connsiteX2" fmla="*/ 5470733 w 9152065"/>
              <a:gd name="connsiteY2" fmla="*/ 713479 h 713479"/>
              <a:gd name="connsiteX3" fmla="*/ 5909236 w 9152065"/>
              <a:gd name="connsiteY3" fmla="*/ 458361 h 713479"/>
              <a:gd name="connsiteX4" fmla="*/ 9151470 w 9152065"/>
              <a:gd name="connsiteY4" fmla="*/ 455988 h 713479"/>
              <a:gd name="connsiteX5" fmla="*/ 9150163 w 9152065"/>
              <a:gd name="connsiteY5" fmla="*/ 0 h 713479"/>
              <a:gd name="connsiteX6" fmla="*/ 3124 w 9152065"/>
              <a:gd name="connsiteY6" fmla="*/ 7331 h 713479"/>
              <a:gd name="connsiteX0" fmla="*/ 3124 w 9152065"/>
              <a:gd name="connsiteY0" fmla="*/ 7331 h 705291"/>
              <a:gd name="connsiteX1" fmla="*/ 0 w 9152065"/>
              <a:gd name="connsiteY1" fmla="*/ 705291 h 705291"/>
              <a:gd name="connsiteX2" fmla="*/ 5470733 w 9152065"/>
              <a:gd name="connsiteY2" fmla="*/ 695319 h 705291"/>
              <a:gd name="connsiteX3" fmla="*/ 5909236 w 9152065"/>
              <a:gd name="connsiteY3" fmla="*/ 458361 h 705291"/>
              <a:gd name="connsiteX4" fmla="*/ 9151470 w 9152065"/>
              <a:gd name="connsiteY4" fmla="*/ 455988 h 705291"/>
              <a:gd name="connsiteX5" fmla="*/ 9150163 w 9152065"/>
              <a:gd name="connsiteY5" fmla="*/ 0 h 705291"/>
              <a:gd name="connsiteX6" fmla="*/ 3124 w 9152065"/>
              <a:gd name="connsiteY6" fmla="*/ 7331 h 705291"/>
              <a:gd name="connsiteX0" fmla="*/ 3124 w 9152065"/>
              <a:gd name="connsiteY0" fmla="*/ 7331 h 708939"/>
              <a:gd name="connsiteX1" fmla="*/ 0 w 9152065"/>
              <a:gd name="connsiteY1" fmla="*/ 705291 h 708939"/>
              <a:gd name="connsiteX2" fmla="*/ 5467329 w 9152065"/>
              <a:gd name="connsiteY2" fmla="*/ 708939 h 708939"/>
              <a:gd name="connsiteX3" fmla="*/ 5909236 w 9152065"/>
              <a:gd name="connsiteY3" fmla="*/ 458361 h 708939"/>
              <a:gd name="connsiteX4" fmla="*/ 9151470 w 9152065"/>
              <a:gd name="connsiteY4" fmla="*/ 455988 h 708939"/>
              <a:gd name="connsiteX5" fmla="*/ 9150163 w 9152065"/>
              <a:gd name="connsiteY5" fmla="*/ 0 h 708939"/>
              <a:gd name="connsiteX6" fmla="*/ 3124 w 9152065"/>
              <a:gd name="connsiteY6" fmla="*/ 7331 h 708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52065" h="708939">
                <a:moveTo>
                  <a:pt x="3124" y="7331"/>
                </a:moveTo>
                <a:cubicBezTo>
                  <a:pt x="634" y="308645"/>
                  <a:pt x="2490" y="403977"/>
                  <a:pt x="0" y="705291"/>
                </a:cubicBezTo>
                <a:lnTo>
                  <a:pt x="5467329" y="708939"/>
                </a:lnTo>
                <a:lnTo>
                  <a:pt x="5909236" y="458361"/>
                </a:lnTo>
                <a:lnTo>
                  <a:pt x="9151470" y="455988"/>
                </a:lnTo>
                <a:cubicBezTo>
                  <a:pt x="9153960" y="254282"/>
                  <a:pt x="9147673" y="201706"/>
                  <a:pt x="9150163" y="0"/>
                </a:cubicBezTo>
                <a:lnTo>
                  <a:pt x="3124" y="73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2" descr="\\.psf\Home\Desktop\Intel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" y="549284"/>
            <a:ext cx="1220881" cy="80467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7813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rge Bulle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55613" y="308848"/>
            <a:ext cx="8229600" cy="8686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28pt</a:t>
            </a:r>
            <a:r>
              <a:rPr lang="en-US" dirty="0" smtClean="0"/>
              <a:t> Intel Clear Light Headlin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55613" y="1203325"/>
            <a:ext cx="8228012" cy="3425825"/>
          </a:xfrm>
        </p:spPr>
        <p:txBody>
          <a:bodyPr/>
          <a:lstStyle>
            <a:lvl2pPr>
              <a:defRPr sz="1800"/>
            </a:lvl2pPr>
            <a:lvl3pPr>
              <a:defRPr sz="1800"/>
            </a:lvl3pPr>
            <a:lvl4pPr>
              <a:defRPr sz="1600"/>
            </a:lvl4pPr>
          </a:lstStyle>
          <a:p>
            <a:pPr lvl="0"/>
            <a:r>
              <a:rPr lang="en-US" dirty="0" smtClean="0"/>
              <a:t>18pt Intel Clear body text</a:t>
            </a:r>
          </a:p>
          <a:p>
            <a:pPr lvl="1"/>
            <a:r>
              <a:rPr lang="en-US" dirty="0" smtClean="0"/>
              <a:t>18pt Intel Clear bullet one</a:t>
            </a:r>
          </a:p>
          <a:p>
            <a:pPr lvl="2"/>
            <a:r>
              <a:rPr lang="en-US" dirty="0" smtClean="0"/>
              <a:t>18pt Intel Clear sub-bullet</a:t>
            </a:r>
          </a:p>
          <a:p>
            <a:pPr lvl="3"/>
            <a:r>
              <a:rPr lang="en-US" dirty="0" smtClean="0"/>
              <a:t>16pt Intel Clear fourth level</a:t>
            </a:r>
          </a:p>
          <a:p>
            <a:pPr lvl="4"/>
            <a:r>
              <a:rPr lang="en-US" dirty="0" err="1" smtClean="0"/>
              <a:t>14pt</a:t>
            </a:r>
            <a:r>
              <a:rPr lang="en-US" dirty="0" smtClean="0"/>
              <a:t> Intel Clear 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8511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28pt</a:t>
            </a:r>
            <a:r>
              <a:rPr lang="en-US" dirty="0" smtClean="0"/>
              <a:t> Intel Clear Light Headlin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55613" y="1203325"/>
            <a:ext cx="8228012" cy="3425825"/>
          </a:xfrm>
        </p:spPr>
        <p:txBody>
          <a:bodyPr/>
          <a:lstStyle/>
          <a:p>
            <a:pPr lvl="0"/>
            <a:r>
              <a:rPr lang="en-US" dirty="0" smtClean="0"/>
              <a:t>18pt Intel Clear body text</a:t>
            </a:r>
          </a:p>
          <a:p>
            <a:pPr lvl="1"/>
            <a:r>
              <a:rPr lang="en-US" dirty="0" smtClean="0"/>
              <a:t>16pt Intel Clear bullet one</a:t>
            </a:r>
          </a:p>
          <a:p>
            <a:pPr lvl="2"/>
            <a:r>
              <a:rPr lang="en-US" dirty="0" smtClean="0"/>
              <a:t>16pt Intel Clear sub-bullet</a:t>
            </a:r>
          </a:p>
          <a:p>
            <a:pPr lvl="3"/>
            <a:r>
              <a:rPr lang="en-US" dirty="0" err="1" smtClean="0"/>
              <a:t>14pt</a:t>
            </a:r>
            <a:r>
              <a:rPr lang="en-US" dirty="0" smtClean="0"/>
              <a:t> Intel Clear fourth level</a:t>
            </a:r>
          </a:p>
          <a:p>
            <a:pPr lvl="4"/>
            <a:r>
              <a:rPr lang="en-US" dirty="0" err="1" smtClean="0"/>
              <a:t>14pt</a:t>
            </a:r>
            <a:r>
              <a:rPr lang="en-US" dirty="0" smtClean="0"/>
              <a:t> Intel Clear 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4045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13" y="308848"/>
            <a:ext cx="8228012" cy="8686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28pt</a:t>
            </a:r>
            <a:r>
              <a:rPr lang="en-US" dirty="0" smtClean="0"/>
              <a:t> Intel Clear Light Headli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5613" y="1203324"/>
            <a:ext cx="4006851" cy="3425825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marR="0" lvl="0" fontAlgn="auto">
              <a:lnSpc>
                <a:spcPct val="100000"/>
              </a:lnSpc>
              <a:buClrTx/>
              <a:buSzTx/>
              <a:tabLst/>
            </a:pPr>
            <a:r>
              <a:rPr lang="en-US" dirty="0" smtClean="0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 smtClean="0"/>
              <a:t>16pt Intel Clear bullet one</a:t>
            </a:r>
          </a:p>
          <a:p>
            <a:pPr lvl="2"/>
            <a:r>
              <a:rPr lang="en-US" dirty="0" err="1" smtClean="0"/>
              <a:t>14pt</a:t>
            </a:r>
            <a:r>
              <a:rPr lang="en-US" dirty="0" smtClean="0"/>
              <a:t> Intel Clear third level</a:t>
            </a:r>
          </a:p>
          <a:p>
            <a:pPr lvl="3"/>
            <a:r>
              <a:rPr lang="en-US" dirty="0" err="1" smtClean="0"/>
              <a:t>12pt</a:t>
            </a:r>
            <a:r>
              <a:rPr lang="en-US" dirty="0" smtClean="0"/>
              <a:t> Intel Clear fourth level</a:t>
            </a:r>
          </a:p>
          <a:p>
            <a:pPr lvl="4"/>
            <a:r>
              <a:rPr lang="en-US" dirty="0" err="1" smtClean="0"/>
              <a:t>12pt</a:t>
            </a:r>
            <a:r>
              <a:rPr lang="en-US" dirty="0" smtClean="0"/>
              <a:t> Intel Clear 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4678363" y="1203324"/>
            <a:ext cx="4005264" cy="3425825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marR="0" lvl="0" fontAlgn="auto">
              <a:lnSpc>
                <a:spcPct val="100000"/>
              </a:lnSpc>
              <a:buClrTx/>
              <a:buSzTx/>
              <a:tabLst/>
            </a:pPr>
            <a:r>
              <a:rPr lang="en-US" dirty="0" smtClean="0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 smtClean="0"/>
              <a:t>16pt Intel Clear bullet one</a:t>
            </a:r>
          </a:p>
          <a:p>
            <a:pPr lvl="2"/>
            <a:r>
              <a:rPr lang="en-US" dirty="0" err="1" smtClean="0"/>
              <a:t>14pt</a:t>
            </a:r>
            <a:r>
              <a:rPr lang="en-US" dirty="0" smtClean="0"/>
              <a:t> Intel Clear third level</a:t>
            </a:r>
          </a:p>
          <a:p>
            <a:pPr lvl="3"/>
            <a:r>
              <a:rPr lang="en-US" dirty="0" err="1" smtClean="0"/>
              <a:t>12pt</a:t>
            </a:r>
            <a:r>
              <a:rPr lang="en-US" dirty="0" smtClean="0"/>
              <a:t> Intel Clear fourth level</a:t>
            </a:r>
          </a:p>
          <a:p>
            <a:pPr lvl="4"/>
            <a:r>
              <a:rPr lang="en-US" dirty="0" err="1" smtClean="0"/>
              <a:t>12pt</a:t>
            </a:r>
            <a:r>
              <a:rPr lang="en-US" dirty="0" smtClean="0"/>
              <a:t> Intel Clear 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0636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e and Attrib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13" y="308848"/>
            <a:ext cx="8228012" cy="86868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800" b="0" i="0" u="none" strike="noStrike" baseline="0" smtClean="0"/>
            </a:lvl1pPr>
          </a:lstStyle>
          <a:p>
            <a:r>
              <a:rPr lang="en-US" dirty="0" err="1" smtClean="0"/>
              <a:t>28pt</a:t>
            </a:r>
            <a:r>
              <a:rPr lang="en-US" dirty="0" smtClean="0"/>
              <a:t> Intel Clear Light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5613" y="1203325"/>
            <a:ext cx="8228013" cy="3425825"/>
          </a:xfrm>
        </p:spPr>
        <p:txBody>
          <a:bodyPr anchor="ctr" anchorCtr="0"/>
          <a:lstStyle>
            <a:lvl1pPr marL="190500" indent="-190500">
              <a:defRPr sz="4400" baseline="0">
                <a:solidFill>
                  <a:schemeClr val="accent2"/>
                </a:solidFill>
                <a:latin typeface="+mj-lt"/>
                <a:cs typeface="Intel Clear Light" panose="020B0404020203020204" pitchFamily="34" charset="0"/>
              </a:defRPr>
            </a:lvl1pPr>
            <a:lvl2pPr marL="417513" indent="-225425">
              <a:buFont typeface="Lucida Grande"/>
              <a:buChar char="−"/>
              <a:defRPr sz="1200" baseline="0">
                <a:latin typeface="+mn-lt"/>
                <a:cs typeface="Intel Clear" panose="020B0604020203020204" pitchFamily="34" charset="0"/>
              </a:defRPr>
            </a:lvl2pPr>
            <a:lvl3pPr marL="685800" indent="-228600">
              <a:defRPr sz="1200">
                <a:latin typeface="+mn-lt"/>
              </a:defRPr>
            </a:lvl3pPr>
            <a:lvl4pPr>
              <a:defRPr sz="1100">
                <a:latin typeface="+mn-lt"/>
              </a:defRPr>
            </a:lvl4pPr>
            <a:lvl5pPr>
              <a:defRPr sz="1050">
                <a:latin typeface="+mn-lt"/>
              </a:defRPr>
            </a:lvl5pPr>
          </a:lstStyle>
          <a:p>
            <a:pPr lvl="0"/>
            <a:r>
              <a:rPr lang="en-US" dirty="0" smtClean="0"/>
              <a:t>“</a:t>
            </a:r>
            <a:r>
              <a:rPr lang="en-US" dirty="0" err="1" smtClean="0"/>
              <a:t>44pt</a:t>
            </a:r>
            <a:r>
              <a:rPr lang="en-US" dirty="0" smtClean="0"/>
              <a:t> Intel Clear Light Text”</a:t>
            </a:r>
          </a:p>
          <a:p>
            <a:pPr lvl="1"/>
            <a:r>
              <a:rPr lang="en-US" dirty="0" err="1" smtClean="0"/>
              <a:t>12pt</a:t>
            </a:r>
            <a:r>
              <a:rPr lang="en-US" dirty="0" smtClean="0"/>
              <a:t> Attribution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2946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2" name="Picture Placeholder 10"/>
          <p:cNvSpPr>
            <a:spLocks noGrp="1" noChangeAspect="1"/>
          </p:cNvSpPr>
          <p:nvPr>
            <p:ph type="pic" sz="quarter" idx="14"/>
          </p:nvPr>
        </p:nvSpPr>
        <p:spPr>
          <a:xfrm>
            <a:off x="0" y="4805172"/>
            <a:ext cx="9144000" cy="33832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13" y="308848"/>
            <a:ext cx="8228012" cy="868680"/>
          </a:xfrm>
        </p:spPr>
        <p:txBody>
          <a:bodyPr>
            <a:normAutofit/>
          </a:bodyPr>
          <a:lstStyle>
            <a:lvl1pPr>
              <a:defRPr sz="2800" baseline="0"/>
            </a:lvl1pPr>
          </a:lstStyle>
          <a:p>
            <a:r>
              <a:rPr lang="en-US" dirty="0" err="1" smtClean="0"/>
              <a:t>28pt</a:t>
            </a:r>
            <a:r>
              <a:rPr lang="en-US" dirty="0" smtClean="0"/>
              <a:t> Intel Clear Light Headlin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820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2574131"/>
            <a:ext cx="9144000" cy="2569369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0" name="Picture Placeholder 10"/>
          <p:cNvSpPr>
            <a:spLocks noGrp="1" noChangeAspect="1"/>
          </p:cNvSpPr>
          <p:nvPr>
            <p:ph type="pic" sz="quarter" idx="14"/>
          </p:nvPr>
        </p:nvSpPr>
        <p:spPr>
          <a:xfrm>
            <a:off x="0" y="4805172"/>
            <a:ext cx="9144000" cy="33832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13" y="308848"/>
            <a:ext cx="8228012" cy="868680"/>
          </a:xfrm>
        </p:spPr>
        <p:txBody>
          <a:bodyPr>
            <a:noAutofit/>
          </a:bodyPr>
          <a:lstStyle>
            <a:lvl1pPr>
              <a:defRPr sz="2800" baseline="0"/>
            </a:lvl1pPr>
          </a:lstStyle>
          <a:p>
            <a:r>
              <a:rPr lang="en-US" dirty="0" err="1" smtClean="0"/>
              <a:t>28pt</a:t>
            </a:r>
            <a:r>
              <a:rPr lang="en-US" dirty="0" smtClean="0"/>
              <a:t> Intel Clear Light Headline</a:t>
            </a:r>
            <a:endParaRPr lang="en-US" dirty="0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5613" y="1203325"/>
            <a:ext cx="4006851" cy="130929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marR="0" lvl="0" fontAlgn="auto">
              <a:lnSpc>
                <a:spcPct val="100000"/>
              </a:lnSpc>
              <a:buClrTx/>
              <a:buSzTx/>
              <a:tabLst/>
            </a:pPr>
            <a:r>
              <a:rPr lang="en-US" dirty="0" smtClean="0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 smtClean="0"/>
              <a:t>16pt Intel Clear bullet one</a:t>
            </a:r>
          </a:p>
          <a:p>
            <a:pPr lvl="2"/>
            <a:r>
              <a:rPr lang="en-US" dirty="0" err="1" smtClean="0"/>
              <a:t>14pt</a:t>
            </a:r>
            <a:r>
              <a:rPr lang="en-US" dirty="0" smtClean="0"/>
              <a:t> Intel Clear third level</a:t>
            </a:r>
          </a:p>
          <a:p>
            <a:pPr lvl="3"/>
            <a:r>
              <a:rPr lang="en-US" dirty="0" err="1" smtClean="0"/>
              <a:t>12pt</a:t>
            </a:r>
            <a:r>
              <a:rPr lang="en-US" dirty="0" smtClean="0"/>
              <a:t> Intel Clear fourth level</a:t>
            </a:r>
          </a:p>
          <a:p>
            <a:pPr lvl="4"/>
            <a:r>
              <a:rPr lang="en-US" dirty="0" err="1" smtClean="0"/>
              <a:t>12pt</a:t>
            </a:r>
            <a:r>
              <a:rPr lang="en-US" dirty="0" smtClean="0"/>
              <a:t> Intel Clear 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15" hasCustomPrompt="1"/>
          </p:nvPr>
        </p:nvSpPr>
        <p:spPr>
          <a:xfrm>
            <a:off x="4678363" y="1203325"/>
            <a:ext cx="4005264" cy="130929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marR="0" lvl="0" fontAlgn="auto">
              <a:lnSpc>
                <a:spcPct val="100000"/>
              </a:lnSpc>
              <a:buClrTx/>
              <a:buSzTx/>
              <a:tabLst/>
            </a:pPr>
            <a:r>
              <a:rPr lang="en-US" dirty="0" smtClean="0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 smtClean="0"/>
              <a:t>16pt Intel Clear bullet one</a:t>
            </a:r>
          </a:p>
          <a:p>
            <a:pPr lvl="2"/>
            <a:r>
              <a:rPr lang="en-US" dirty="0" err="1" smtClean="0"/>
              <a:t>14pt</a:t>
            </a:r>
            <a:r>
              <a:rPr lang="en-US" dirty="0" smtClean="0"/>
              <a:t> Intel Clear third level</a:t>
            </a:r>
          </a:p>
          <a:p>
            <a:pPr lvl="3"/>
            <a:r>
              <a:rPr lang="en-US" dirty="0" err="1" smtClean="0"/>
              <a:t>12pt</a:t>
            </a:r>
            <a:r>
              <a:rPr lang="en-US" dirty="0" smtClean="0"/>
              <a:t> Intel Clear fourth level</a:t>
            </a:r>
          </a:p>
          <a:p>
            <a:pPr lvl="4"/>
            <a:r>
              <a:rPr lang="en-US" dirty="0" err="1" smtClean="0"/>
              <a:t>12pt</a:t>
            </a:r>
            <a:r>
              <a:rPr lang="en-US" dirty="0" smtClean="0"/>
              <a:t> Intel Clear 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689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ight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4678363" y="1"/>
            <a:ext cx="4465637" cy="5143499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9" name="Picture Placeholder 10"/>
          <p:cNvSpPr>
            <a:spLocks noGrp="1" noChangeAspect="1"/>
          </p:cNvSpPr>
          <p:nvPr>
            <p:ph type="pic" sz="quarter" idx="14"/>
          </p:nvPr>
        </p:nvSpPr>
        <p:spPr>
          <a:xfrm>
            <a:off x="0" y="4805172"/>
            <a:ext cx="9144000" cy="33832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13" y="308848"/>
            <a:ext cx="4006850" cy="868680"/>
          </a:xfrm>
        </p:spPr>
        <p:txBody>
          <a:bodyPr>
            <a:noAutofit/>
          </a:bodyPr>
          <a:lstStyle>
            <a:lvl1pPr>
              <a:defRPr sz="2800" baseline="0"/>
            </a:lvl1pPr>
          </a:lstStyle>
          <a:p>
            <a:r>
              <a:rPr lang="en-US" dirty="0" err="1" smtClean="0"/>
              <a:t>28pt</a:t>
            </a:r>
            <a:r>
              <a:rPr lang="en-US" dirty="0" smtClean="0"/>
              <a:t> Intel Clear Light Headline</a:t>
            </a:r>
            <a:endParaRPr lang="en-US" dirty="0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5614" y="1325244"/>
            <a:ext cx="4006850" cy="3425825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marR="0" lvl="0" fontAlgn="auto">
              <a:lnSpc>
                <a:spcPct val="100000"/>
              </a:lnSpc>
              <a:buClrTx/>
              <a:buSzTx/>
              <a:tabLst/>
            </a:pPr>
            <a:r>
              <a:rPr lang="en-US" dirty="0" smtClean="0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 smtClean="0"/>
              <a:t>16pt Intel Clear bullet one</a:t>
            </a:r>
          </a:p>
          <a:p>
            <a:pPr lvl="2"/>
            <a:r>
              <a:rPr lang="en-US" dirty="0" err="1" smtClean="0"/>
              <a:t>14pt</a:t>
            </a:r>
            <a:r>
              <a:rPr lang="en-US" dirty="0" smtClean="0"/>
              <a:t> Intel Clear third level</a:t>
            </a:r>
          </a:p>
          <a:p>
            <a:pPr lvl="3"/>
            <a:r>
              <a:rPr lang="en-US" dirty="0" err="1" smtClean="0"/>
              <a:t>12pt</a:t>
            </a:r>
            <a:r>
              <a:rPr lang="en-US" dirty="0" smtClean="0"/>
              <a:t> Intel Clear fourth level</a:t>
            </a:r>
          </a:p>
          <a:p>
            <a:pPr lvl="4"/>
            <a:r>
              <a:rPr lang="en-US" dirty="0" err="1" smtClean="0"/>
              <a:t>12pt</a:t>
            </a:r>
            <a:r>
              <a:rPr lang="en-US" dirty="0" smtClean="0"/>
              <a:t> Intel Clear 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421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 descr="\\.psf\Home\Desktop\WideFooterAI.pn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" y="4806834"/>
            <a:ext cx="9144000" cy="33666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5613" y="319008"/>
            <a:ext cx="8229600" cy="8686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28pt Intel Clear Light Headlin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5613" y="1203325"/>
            <a:ext cx="8228012" cy="34258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18pt Intel Clear body text</a:t>
            </a:r>
          </a:p>
          <a:p>
            <a:pPr lvl="1"/>
            <a:r>
              <a:rPr lang="en-US" dirty="0" smtClean="0"/>
              <a:t>16pt Intel Clear bullet one</a:t>
            </a:r>
          </a:p>
          <a:p>
            <a:pPr lvl="2"/>
            <a:r>
              <a:rPr lang="en-US" dirty="0" smtClean="0"/>
              <a:t>16pt Intel Clear sub-bullet</a:t>
            </a:r>
          </a:p>
          <a:p>
            <a:pPr lvl="3"/>
            <a:r>
              <a:rPr lang="en-US" dirty="0" err="1" smtClean="0"/>
              <a:t>14pt</a:t>
            </a:r>
            <a:r>
              <a:rPr lang="en-US" dirty="0" smtClean="0"/>
              <a:t> Intel Clear fourth level</a:t>
            </a:r>
          </a:p>
          <a:p>
            <a:pPr lvl="4"/>
            <a:r>
              <a:rPr lang="en-US" dirty="0" err="1" smtClean="0"/>
              <a:t>14pt</a:t>
            </a:r>
            <a:r>
              <a:rPr lang="en-US" dirty="0" smtClean="0"/>
              <a:t> Intel Clear 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72352" y="4842143"/>
            <a:ext cx="2133600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/>
                </a:solidFill>
                <a:latin typeface="+mn-lt"/>
                <a:cs typeface="Intel Clear Light" panose="020B0404020203020204" pitchFamily="34" charset="0"/>
              </a:defRPr>
            </a:lvl1pPr>
          </a:lstStyle>
          <a:p>
            <a:fld id="{EE2556C5-CE8C-6547-B838-EA80C61A4A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227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50" r:id="rId3"/>
    <p:sldLayoutId id="2147483671" r:id="rId4"/>
    <p:sldLayoutId id="2147483652" r:id="rId5"/>
    <p:sldLayoutId id="2147483660" r:id="rId6"/>
    <p:sldLayoutId id="2147483668" r:id="rId7"/>
    <p:sldLayoutId id="2147483669" r:id="rId8"/>
    <p:sldLayoutId id="2147483670" r:id="rId9"/>
    <p:sldLayoutId id="2147483672" r:id="rId10"/>
    <p:sldLayoutId id="2147483651" r:id="rId11"/>
    <p:sldLayoutId id="2147483665" r:id="rId12"/>
    <p:sldLayoutId id="2147483654" r:id="rId13"/>
    <p:sldLayoutId id="2147483655" r:id="rId14"/>
    <p:sldLayoutId id="2147483666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200"/>
        </a:spcBef>
        <a:spcAft>
          <a:spcPts val="0"/>
        </a:spcAft>
        <a:buFont typeface="Wingdings" panose="05000000000000000000" pitchFamily="2" charset="2"/>
        <a:buNone/>
        <a:defRPr sz="1800" b="0" kern="1200">
          <a:solidFill>
            <a:srgbClr val="0071C5"/>
          </a:solidFill>
          <a:latin typeface="+mn-lt"/>
          <a:ea typeface="+mn-ea"/>
          <a:cs typeface="Intel Clear" panose="020B0604020203020204" pitchFamily="34" charset="0"/>
        </a:defRPr>
      </a:lvl1pPr>
      <a:lvl2pPr marL="225425" indent="-225425" algn="l" defTabSz="457200" rtl="0" eaLnBrk="1" latinLnBrk="0" hangingPunct="1">
        <a:spcBef>
          <a:spcPts val="1200"/>
        </a:spcBef>
        <a:buFont typeface="Wingdings" charset="2"/>
        <a:buChar char="§"/>
        <a:defRPr sz="1600" kern="1200" baseline="0">
          <a:solidFill>
            <a:schemeClr val="tx2"/>
          </a:solidFill>
          <a:latin typeface="+mn-lt"/>
          <a:ea typeface="+mn-ea"/>
          <a:cs typeface="Intel Clear" panose="020B0604020203020204" pitchFamily="34" charset="0"/>
        </a:defRPr>
      </a:lvl2pPr>
      <a:lvl3pPr marL="571500" indent="-228600" algn="l" defTabSz="457200" rtl="0" eaLnBrk="1" latinLnBrk="0" hangingPunct="1">
        <a:spcBef>
          <a:spcPts val="800"/>
        </a:spcBef>
        <a:buFont typeface="Wingdings" charset="2"/>
        <a:buChar char="§"/>
        <a:defRPr sz="1600" kern="1200">
          <a:solidFill>
            <a:schemeClr val="tx2"/>
          </a:solidFill>
          <a:latin typeface="+mn-lt"/>
          <a:ea typeface="+mn-ea"/>
          <a:cs typeface="Intel Clear" panose="020B0604020203020204" pitchFamily="34" charset="0"/>
        </a:defRPr>
      </a:lvl3pPr>
      <a:lvl4pPr marL="969963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2"/>
          </a:solidFill>
          <a:latin typeface="+mn-lt"/>
          <a:ea typeface="+mn-ea"/>
          <a:cs typeface="Intel Clear" panose="020B0604020203020204" pitchFamily="34" charset="0"/>
        </a:defRPr>
      </a:lvl4pPr>
      <a:lvl5pPr marL="1319213" indent="-228600" algn="l" defTabSz="457200" rtl="0" eaLnBrk="1" latinLnBrk="0" hangingPunct="1">
        <a:spcBef>
          <a:spcPct val="20000"/>
        </a:spcBef>
        <a:buFont typeface="Intel Clear" panose="020B0604020203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Intel Clear" panose="020B0604020203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jpeg"/><Relationship Id="rId7" Type="http://schemas.openxmlformats.org/officeDocument/2006/relationships/image" Target="../media/image1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10" Type="http://schemas.openxmlformats.org/officeDocument/2006/relationships/image" Target="../media/image14.png"/><Relationship Id="rId4" Type="http://schemas.openxmlformats.org/officeDocument/2006/relationships/image" Target="../media/image8.WMF"/><Relationship Id="rId9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3.jpeg"/><Relationship Id="rId18" Type="http://schemas.openxmlformats.org/officeDocument/2006/relationships/image" Target="../media/image38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2.jpeg"/><Relationship Id="rId17" Type="http://schemas.openxmlformats.org/officeDocument/2006/relationships/image" Target="../media/image37.png"/><Relationship Id="rId2" Type="http://schemas.openxmlformats.org/officeDocument/2006/relationships/tags" Target="../tags/tag2.xml"/><Relationship Id="rId16" Type="http://schemas.openxmlformats.org/officeDocument/2006/relationships/image" Target="../media/image36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11.xml"/><Relationship Id="rId5" Type="http://schemas.openxmlformats.org/officeDocument/2006/relationships/tags" Target="../tags/tag5.xml"/><Relationship Id="rId15" Type="http://schemas.openxmlformats.org/officeDocument/2006/relationships/image" Target="../media/image35.jpeg"/><Relationship Id="rId10" Type="http://schemas.openxmlformats.org/officeDocument/2006/relationships/slideLayout" Target="../slideLayouts/slideLayout4.xml"/><Relationship Id="rId19" Type="http://schemas.openxmlformats.org/officeDocument/2006/relationships/image" Target="../media/image39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3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4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microsoft.com/office/2007/relationships/hdphoto" Target="../media/hdphoto3.wdp"/><Relationship Id="rId18" Type="http://schemas.openxmlformats.org/officeDocument/2006/relationships/image" Target="../media/image55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12" Type="http://schemas.openxmlformats.org/officeDocument/2006/relationships/image" Target="../media/image52.png"/><Relationship Id="rId17" Type="http://schemas.microsoft.com/office/2007/relationships/hdphoto" Target="../media/hdphoto5.wdp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5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8.png"/><Relationship Id="rId11" Type="http://schemas.microsoft.com/office/2007/relationships/hdphoto" Target="../media/hdphoto2.wdp"/><Relationship Id="rId5" Type="http://schemas.openxmlformats.org/officeDocument/2006/relationships/image" Target="../media/image47.png"/><Relationship Id="rId15" Type="http://schemas.microsoft.com/office/2007/relationships/hdphoto" Target="../media/hdphoto4.wdp"/><Relationship Id="rId10" Type="http://schemas.openxmlformats.org/officeDocument/2006/relationships/image" Target="../media/image51.png"/><Relationship Id="rId4" Type="http://schemas.openxmlformats.org/officeDocument/2006/relationships/image" Target="../media/image46.png"/><Relationship Id="rId9" Type="http://schemas.microsoft.com/office/2007/relationships/hdphoto" Target="../media/hdphoto1.wdp"/><Relationship Id="rId14" Type="http://schemas.openxmlformats.org/officeDocument/2006/relationships/image" Target="../media/image5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://iotdk.intel.com/docs/master/mraa/" TargetMode="External"/><Relationship Id="rId3" Type="http://schemas.openxmlformats.org/officeDocument/2006/relationships/image" Target="../media/image56.png"/><Relationship Id="rId7" Type="http://schemas.openxmlformats.org/officeDocument/2006/relationships/hyperlink" Target="https://github.com/intel-iot-devkit/upm" TargetMode="External"/><Relationship Id="rId12" Type="http://schemas.openxmlformats.org/officeDocument/2006/relationships/hyperlink" Target="https://software.intel.com/en-us/intel-iot-developer-kit-cloud-based-analytics-user-guide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github.com/intel-iot-devkit/mraa" TargetMode="External"/><Relationship Id="rId11" Type="http://schemas.openxmlformats.org/officeDocument/2006/relationships/hyperlink" Target="http://iotdk.intel.com/docs/master/mraa/python" TargetMode="External"/><Relationship Id="rId5" Type="http://schemas.openxmlformats.org/officeDocument/2006/relationships/hyperlink" Target="https://software.intel.com/en-us/iot" TargetMode="External"/><Relationship Id="rId10" Type="http://schemas.openxmlformats.org/officeDocument/2006/relationships/hyperlink" Target="https://www.npmjs.org/package/mraa" TargetMode="External"/><Relationship Id="rId4" Type="http://schemas.openxmlformats.org/officeDocument/2006/relationships/hyperlink" Target="http://www.intel.com/content/www/us/en/do-it-yourself/edison.html" TargetMode="External"/><Relationship Id="rId9" Type="http://schemas.openxmlformats.org/officeDocument/2006/relationships/hyperlink" Target="http://iotdk.intel.com/docs/master/upm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github.com/srware/wearable_technology_show_2015" TargetMode="External"/><Relationship Id="rId4" Type="http://schemas.openxmlformats.org/officeDocument/2006/relationships/image" Target="../media/image5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tags" Target="../tags/tag35.xml"/><Relationship Id="rId3" Type="http://schemas.openxmlformats.org/officeDocument/2006/relationships/tags" Target="../tags/tag12.xml"/><Relationship Id="rId21" Type="http://schemas.openxmlformats.org/officeDocument/2006/relationships/tags" Target="../tags/tag30.xml"/><Relationship Id="rId34" Type="http://schemas.openxmlformats.org/officeDocument/2006/relationships/tags" Target="../tags/tag43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33" Type="http://schemas.openxmlformats.org/officeDocument/2006/relationships/tags" Target="../tags/tag42.xml"/><Relationship Id="rId38" Type="http://schemas.openxmlformats.org/officeDocument/2006/relationships/notesSlide" Target="../notesSlides/notesSlide19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29" Type="http://schemas.openxmlformats.org/officeDocument/2006/relationships/tags" Target="../tags/tag38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32" Type="http://schemas.openxmlformats.org/officeDocument/2006/relationships/tags" Target="../tags/tag41.xml"/><Relationship Id="rId37" Type="http://schemas.openxmlformats.org/officeDocument/2006/relationships/slideLayout" Target="../slideLayouts/slideLayout4.xml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tags" Target="../tags/tag37.xml"/><Relationship Id="rId36" Type="http://schemas.openxmlformats.org/officeDocument/2006/relationships/tags" Target="../tags/tag45.xml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31" Type="http://schemas.openxmlformats.org/officeDocument/2006/relationships/tags" Target="../tags/tag40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tags" Target="../tags/tag36.xml"/><Relationship Id="rId30" Type="http://schemas.openxmlformats.org/officeDocument/2006/relationships/tags" Target="../tags/tag39.xml"/><Relationship Id="rId35" Type="http://schemas.openxmlformats.org/officeDocument/2006/relationships/tags" Target="../tags/tag4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9.jpg"/><Relationship Id="rId4" Type="http://schemas.openxmlformats.org/officeDocument/2006/relationships/hyperlink" Target="http://blogs.intel.com/technology/2014/08/designing-great-wearables-experience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5027" y="2647916"/>
            <a:ext cx="5574646" cy="1325667"/>
          </a:xfrm>
        </p:spPr>
        <p:txBody>
          <a:bodyPr/>
          <a:lstStyle/>
          <a:p>
            <a:r>
              <a:rPr lang="pt-BR" sz="3000" dirty="0" smtClean="0"/>
              <a:t>Intel</a:t>
            </a:r>
            <a:r>
              <a:rPr lang="de-DE" sz="3000" dirty="0"/>
              <a:t>®</a:t>
            </a:r>
            <a:r>
              <a:rPr lang="pt-BR" sz="3000" dirty="0"/>
              <a:t> IoT &amp; Wearable </a:t>
            </a:r>
            <a:r>
              <a:rPr lang="pt-BR" sz="3000" dirty="0" smtClean="0"/>
              <a:t>Overview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Nandkishor </a:t>
            </a:r>
            <a:r>
              <a:rPr lang="en-GB" dirty="0"/>
              <a:t>(Nandu)   Sonar</a:t>
            </a:r>
          </a:p>
          <a:p>
            <a:pPr>
              <a:spcBef>
                <a:spcPts val="0"/>
              </a:spcBef>
            </a:pPr>
            <a:r>
              <a:rPr lang="en-GB" b="0" dirty="0"/>
              <a:t>Intel® Corporation </a:t>
            </a: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GB" b="0" dirty="0" smtClean="0"/>
              <a:t>March-2015</a:t>
            </a:r>
            <a:endParaRPr lang="en-US" b="0" dirty="0"/>
          </a:p>
          <a:p>
            <a:endParaRPr lang="en-US" dirty="0" smtClean="0"/>
          </a:p>
        </p:txBody>
      </p:sp>
      <p:pic>
        <p:nvPicPr>
          <p:cNvPr id="4" name="Picture 2" descr="http://images.anandtech.com/doci/8511/Edison_678x45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587907">
            <a:off x="214339" y="2880417"/>
            <a:ext cx="1119870" cy="773007"/>
          </a:xfrm>
          <a:prstGeom prst="rect">
            <a:avLst/>
          </a:prstGeom>
          <a:noFill/>
          <a:effectLst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068" y="3196955"/>
            <a:ext cx="669510" cy="1647429"/>
          </a:xfrm>
          <a:prstGeom prst="rect">
            <a:avLst/>
          </a:prstGeom>
        </p:spPr>
      </p:pic>
      <p:pic>
        <p:nvPicPr>
          <p:cNvPr id="6" name="Picture 2" descr="https://communities.intel.com/resources/statics/247185/Tech-Coutur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2862" y="979762"/>
            <a:ext cx="1717067" cy="1245545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http://www.damngeeky.com/wp-content/uploads/2014/09/Drone-Nixie-Flyable-Wearable-Camera-quadcopter_3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4486" y="700555"/>
            <a:ext cx="2267156" cy="1548890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6198" y="302084"/>
            <a:ext cx="2807802" cy="1947361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2425109">
            <a:off x="1480661" y="2906332"/>
            <a:ext cx="295563" cy="282632"/>
          </a:xfrm>
          <a:prstGeom prst="rect">
            <a:avLst/>
          </a:prstGeom>
          <a:effectLst>
            <a:softEdge rad="12700"/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06800" y="1689457"/>
            <a:ext cx="1516062" cy="871857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-2380" y="-41223"/>
            <a:ext cx="1710218" cy="562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1928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0" name="Title 1"/>
          <p:cNvSpPr>
            <a:spLocks noGrp="1"/>
          </p:cNvSpPr>
          <p:nvPr>
            <p:ph type="title"/>
          </p:nvPr>
        </p:nvSpPr>
        <p:spPr>
          <a:xfrm>
            <a:off x="188573" y="71578"/>
            <a:ext cx="8817377" cy="466126"/>
          </a:xfrm>
        </p:spPr>
        <p:txBody>
          <a:bodyPr>
            <a:normAutofit fontScale="90000"/>
          </a:bodyPr>
          <a:lstStyle/>
          <a:p>
            <a:r>
              <a:rPr lang="en-US" sz="3300" dirty="0">
                <a:latin typeface="Intel Clear" panose="020B0604020203020204" pitchFamily="34" charset="0"/>
              </a:rPr>
              <a:t>Target audience and developer path</a:t>
            </a:r>
          </a:p>
        </p:txBody>
      </p:sp>
      <p:sp>
        <p:nvSpPr>
          <p:cNvPr id="71" name="Rectangle 70"/>
          <p:cNvSpPr/>
          <p:nvPr/>
        </p:nvSpPr>
        <p:spPr>
          <a:xfrm>
            <a:off x="2845492" y="689622"/>
            <a:ext cx="1488559" cy="4052096"/>
          </a:xfrm>
          <a:prstGeom prst="rect">
            <a:avLst/>
          </a:prstGeom>
          <a:gradFill flip="none" rotWithShape="1">
            <a:gsLst>
              <a:gs pos="0">
                <a:srgbClr val="0A57BC">
                  <a:alpha val="25000"/>
                </a:srgbClr>
              </a:gs>
              <a:gs pos="18000">
                <a:schemeClr val="accent1">
                  <a:tint val="23500"/>
                  <a:satMod val="160000"/>
                </a:schemeClr>
              </a:gs>
            </a:gsLst>
            <a:lin ang="11160000" scaled="0"/>
            <a:tileRect/>
          </a:gradFill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prstClr val="white"/>
              </a:solidFill>
              <a:latin typeface="Intel Clear" panose="020B0604020203020204" pitchFamily="34" charset="0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1277656" y="674283"/>
            <a:ext cx="1488559" cy="4082356"/>
          </a:xfrm>
          <a:prstGeom prst="rect">
            <a:avLst/>
          </a:prstGeom>
          <a:gradFill flip="none" rotWithShape="1">
            <a:gsLst>
              <a:gs pos="0">
                <a:srgbClr val="0A57BC">
                  <a:alpha val="25000"/>
                </a:srgbClr>
              </a:gs>
              <a:gs pos="18000">
                <a:schemeClr val="accent1">
                  <a:tint val="23500"/>
                  <a:satMod val="160000"/>
                </a:schemeClr>
              </a:gs>
            </a:gsLst>
            <a:lin ang="11160000" scaled="0"/>
            <a:tileRect/>
          </a:gradFill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prstClr val="white"/>
              </a:solidFill>
              <a:latin typeface="Intel Clear" panose="020B0604020203020204" pitchFamily="34" charset="0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4396401" y="692488"/>
            <a:ext cx="1488559" cy="4041794"/>
          </a:xfrm>
          <a:prstGeom prst="rect">
            <a:avLst/>
          </a:prstGeom>
          <a:gradFill flip="none" rotWithShape="1">
            <a:gsLst>
              <a:gs pos="0">
                <a:srgbClr val="0A57BC">
                  <a:alpha val="25000"/>
                </a:srgbClr>
              </a:gs>
              <a:gs pos="18000">
                <a:schemeClr val="accent1">
                  <a:tint val="23500"/>
                  <a:satMod val="160000"/>
                </a:schemeClr>
              </a:gs>
            </a:gsLst>
            <a:lin ang="11160000" scaled="0"/>
            <a:tileRect/>
          </a:gradFill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prstClr val="white"/>
              </a:solidFill>
              <a:latin typeface="Intel Clear" panose="020B0604020203020204" pitchFamily="34" charset="0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7554271" y="670032"/>
            <a:ext cx="1488559" cy="4086478"/>
          </a:xfrm>
          <a:prstGeom prst="rect">
            <a:avLst/>
          </a:prstGeom>
          <a:gradFill flip="none" rotWithShape="1">
            <a:gsLst>
              <a:gs pos="0">
                <a:srgbClr val="0A57BC">
                  <a:alpha val="25000"/>
                </a:srgbClr>
              </a:gs>
              <a:gs pos="18000">
                <a:schemeClr val="accent1">
                  <a:tint val="23500"/>
                  <a:satMod val="160000"/>
                </a:schemeClr>
              </a:gs>
            </a:gsLst>
            <a:lin ang="11160000" scaled="0"/>
            <a:tileRect/>
          </a:gradFill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prstClr val="white"/>
              </a:solidFill>
              <a:latin typeface="Intel Clear" panose="020B0604020203020204" pitchFamily="34" charset="0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5970020" y="692488"/>
            <a:ext cx="1488559" cy="4064714"/>
          </a:xfrm>
          <a:prstGeom prst="rect">
            <a:avLst/>
          </a:prstGeom>
          <a:gradFill flip="none" rotWithShape="1">
            <a:gsLst>
              <a:gs pos="0">
                <a:srgbClr val="0A57BC">
                  <a:alpha val="25000"/>
                </a:srgbClr>
              </a:gs>
              <a:gs pos="18000">
                <a:schemeClr val="accent1">
                  <a:tint val="23500"/>
                  <a:satMod val="160000"/>
                </a:schemeClr>
              </a:gs>
            </a:gsLst>
            <a:lin ang="11160000" scaled="0"/>
            <a:tileRect/>
          </a:gradFill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prstClr val="white"/>
              </a:solidFill>
              <a:latin typeface="Intel Clear" panose="020B0604020203020204" pitchFamily="34" charset="0"/>
            </a:endParaRPr>
          </a:p>
        </p:txBody>
      </p:sp>
      <p:sp>
        <p:nvSpPr>
          <p:cNvPr id="77" name="Title 2"/>
          <p:cNvSpPr txBox="1">
            <a:spLocks/>
          </p:cNvSpPr>
          <p:nvPr/>
        </p:nvSpPr>
        <p:spPr>
          <a:xfrm>
            <a:off x="2845492" y="739176"/>
            <a:ext cx="1420402" cy="419363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Arduino* </a:t>
            </a:r>
            <a:endParaRPr lang="en-US" sz="1200" b="1" dirty="0">
              <a:solidFill>
                <a:schemeClr val="tx1"/>
              </a:solidFill>
              <a:latin typeface="Intel Clear" panose="020B0604020203020204" pitchFamily="34" charset="0"/>
              <a:cs typeface="Neo Sans Intel Light"/>
            </a:endParaRPr>
          </a:p>
          <a:p>
            <a:pPr algn="ctr"/>
            <a:r>
              <a:rPr lang="en-US" sz="1200" b="1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Developer</a:t>
            </a:r>
          </a:p>
        </p:txBody>
      </p:sp>
      <p:sp>
        <p:nvSpPr>
          <p:cNvPr id="78" name="Title 2"/>
          <p:cNvSpPr txBox="1">
            <a:spLocks/>
          </p:cNvSpPr>
          <p:nvPr/>
        </p:nvSpPr>
        <p:spPr>
          <a:xfrm>
            <a:off x="1287595" y="753494"/>
            <a:ext cx="1420402" cy="4224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b="1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Visual </a:t>
            </a:r>
            <a:r>
              <a:rPr lang="en-US" sz="1200" b="1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/>
            </a:r>
            <a:br>
              <a:rPr lang="en-US" sz="1200" b="1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</a:br>
            <a:r>
              <a:rPr lang="en-US" sz="1200" b="1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Developer</a:t>
            </a:r>
            <a:endParaRPr lang="en-US" sz="1200" b="1" dirty="0">
              <a:solidFill>
                <a:schemeClr val="tx1"/>
              </a:solidFill>
              <a:latin typeface="Intel Clear" panose="020B0604020203020204" pitchFamily="34" charset="0"/>
              <a:cs typeface="Neo Sans Intel Light"/>
            </a:endParaRPr>
          </a:p>
        </p:txBody>
      </p:sp>
      <p:sp>
        <p:nvSpPr>
          <p:cNvPr id="79" name="Title 2"/>
          <p:cNvSpPr txBox="1">
            <a:spLocks/>
          </p:cNvSpPr>
          <p:nvPr/>
        </p:nvSpPr>
        <p:spPr>
          <a:xfrm>
            <a:off x="4396401" y="755593"/>
            <a:ext cx="1420402" cy="41829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b="1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JavaScrip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Developer</a:t>
            </a:r>
          </a:p>
        </p:txBody>
      </p:sp>
      <p:sp>
        <p:nvSpPr>
          <p:cNvPr id="80" name="Title 2"/>
          <p:cNvSpPr txBox="1">
            <a:spLocks/>
          </p:cNvSpPr>
          <p:nvPr/>
        </p:nvSpPr>
        <p:spPr>
          <a:xfrm>
            <a:off x="7554271" y="753281"/>
            <a:ext cx="1420402" cy="42292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b="1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Wind River</a:t>
            </a:r>
          </a:p>
          <a:p>
            <a:pPr algn="ctr"/>
            <a:r>
              <a:rPr lang="en-US" sz="1200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(</a:t>
            </a:r>
            <a:r>
              <a:rPr lang="en-US" sz="1100" i="1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Galileo </a:t>
            </a:r>
            <a:r>
              <a:rPr lang="en-US" sz="1100" i="1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only</a:t>
            </a:r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)</a:t>
            </a:r>
          </a:p>
        </p:txBody>
      </p:sp>
      <p:sp>
        <p:nvSpPr>
          <p:cNvPr id="81" name="Title 2"/>
          <p:cNvSpPr txBox="1">
            <a:spLocks/>
          </p:cNvSpPr>
          <p:nvPr/>
        </p:nvSpPr>
        <p:spPr>
          <a:xfrm>
            <a:off x="5970020" y="754407"/>
            <a:ext cx="1420402" cy="420669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b="1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C / C++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Developer</a:t>
            </a:r>
          </a:p>
        </p:txBody>
      </p:sp>
      <p:cxnSp>
        <p:nvCxnSpPr>
          <p:cNvPr id="82" name="Straight Connector 81"/>
          <p:cNvCxnSpPr/>
          <p:nvPr/>
        </p:nvCxnSpPr>
        <p:spPr>
          <a:xfrm>
            <a:off x="161109" y="1233668"/>
            <a:ext cx="8817377" cy="0"/>
          </a:xfrm>
          <a:prstGeom prst="line">
            <a:avLst/>
          </a:prstGeom>
          <a:ln w="12700" cmpd="sng">
            <a:solidFill>
              <a:schemeClr val="tx1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4" name="Title 2"/>
          <p:cNvSpPr txBox="1">
            <a:spLocks/>
          </p:cNvSpPr>
          <p:nvPr/>
        </p:nvSpPr>
        <p:spPr>
          <a:xfrm>
            <a:off x="84909" y="1259604"/>
            <a:ext cx="1059702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b="1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Target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Audience</a:t>
            </a:r>
          </a:p>
        </p:txBody>
      </p:sp>
      <p:sp>
        <p:nvSpPr>
          <p:cNvPr id="85" name="Title 2"/>
          <p:cNvSpPr txBox="1">
            <a:spLocks/>
          </p:cNvSpPr>
          <p:nvPr/>
        </p:nvSpPr>
        <p:spPr>
          <a:xfrm>
            <a:off x="2881341" y="1170150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Maker</a:t>
            </a:r>
          </a:p>
        </p:txBody>
      </p:sp>
      <p:sp>
        <p:nvSpPr>
          <p:cNvPr id="86" name="Title 2"/>
          <p:cNvSpPr txBox="1">
            <a:spLocks/>
          </p:cNvSpPr>
          <p:nvPr/>
        </p:nvSpPr>
        <p:spPr>
          <a:xfrm>
            <a:off x="1279428" y="1186034"/>
            <a:ext cx="1488559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Beginner</a:t>
            </a:r>
          </a:p>
        </p:txBody>
      </p:sp>
      <p:sp>
        <p:nvSpPr>
          <p:cNvPr id="87" name="Title 2"/>
          <p:cNvSpPr txBox="1">
            <a:spLocks/>
          </p:cNvSpPr>
          <p:nvPr/>
        </p:nvSpPr>
        <p:spPr>
          <a:xfrm>
            <a:off x="4398172" y="1186034"/>
            <a:ext cx="1488559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Intermediate</a:t>
            </a:r>
          </a:p>
        </p:txBody>
      </p:sp>
      <p:sp>
        <p:nvSpPr>
          <p:cNvPr id="88" name="Title 2"/>
          <p:cNvSpPr txBox="1">
            <a:spLocks/>
          </p:cNvSpPr>
          <p:nvPr/>
        </p:nvSpPr>
        <p:spPr>
          <a:xfrm>
            <a:off x="5971791" y="1186034"/>
            <a:ext cx="1488559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Advanced</a:t>
            </a:r>
          </a:p>
        </p:txBody>
      </p:sp>
      <p:sp>
        <p:nvSpPr>
          <p:cNvPr id="89" name="Title 2"/>
          <p:cNvSpPr txBox="1">
            <a:spLocks/>
          </p:cNvSpPr>
          <p:nvPr/>
        </p:nvSpPr>
        <p:spPr>
          <a:xfrm>
            <a:off x="7556042" y="1186034"/>
            <a:ext cx="1488559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Advanced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Professional</a:t>
            </a:r>
          </a:p>
        </p:txBody>
      </p:sp>
      <p:sp>
        <p:nvSpPr>
          <p:cNvPr id="90" name="Title 2"/>
          <p:cNvSpPr txBox="1">
            <a:spLocks/>
          </p:cNvSpPr>
          <p:nvPr/>
        </p:nvSpPr>
        <p:spPr>
          <a:xfrm>
            <a:off x="2204297" y="4962279"/>
            <a:ext cx="5341531" cy="225773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GB" sz="900" dirty="0">
                <a:solidFill>
                  <a:schemeClr val="bg1">
                    <a:lumMod val="65000"/>
                  </a:schemeClr>
                </a:solidFill>
                <a:latin typeface="Intel Clear" panose="020B0604020203020204" pitchFamily="34" charset="0"/>
                <a:cs typeface="Neo Sans Intel Light"/>
              </a:rPr>
              <a:t>* Names and brands may be claimed by the property of third party name and the notation.</a:t>
            </a:r>
          </a:p>
        </p:txBody>
      </p:sp>
      <p:cxnSp>
        <p:nvCxnSpPr>
          <p:cNvPr id="91" name="Straight Connector 90"/>
          <p:cNvCxnSpPr/>
          <p:nvPr/>
        </p:nvCxnSpPr>
        <p:spPr>
          <a:xfrm>
            <a:off x="161109" y="1689245"/>
            <a:ext cx="8817377" cy="0"/>
          </a:xfrm>
          <a:prstGeom prst="line">
            <a:avLst/>
          </a:prstGeom>
          <a:ln w="12700" cmpd="sng">
            <a:solidFill>
              <a:schemeClr val="tx1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Title 2"/>
          <p:cNvSpPr txBox="1">
            <a:spLocks/>
          </p:cNvSpPr>
          <p:nvPr/>
        </p:nvSpPr>
        <p:spPr>
          <a:xfrm>
            <a:off x="103058" y="1762137"/>
            <a:ext cx="1059702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b="1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OS /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Boot Image</a:t>
            </a:r>
          </a:p>
        </p:txBody>
      </p:sp>
      <p:sp>
        <p:nvSpPr>
          <p:cNvPr id="94" name="Title 2"/>
          <p:cNvSpPr txBox="1">
            <a:spLocks/>
          </p:cNvSpPr>
          <p:nvPr/>
        </p:nvSpPr>
        <p:spPr>
          <a:xfrm>
            <a:off x="2882451" y="1725233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Yocto </a:t>
            </a:r>
            <a:r>
              <a:rPr lang="en-US" sz="1200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Project </a:t>
            </a:r>
          </a:p>
          <a:p>
            <a:pPr algn="ctr"/>
            <a:r>
              <a:rPr lang="en-US" sz="1200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Poky Linux*</a:t>
            </a:r>
            <a:endParaRPr lang="en-US" sz="1200" dirty="0">
              <a:solidFill>
                <a:schemeClr val="tx1"/>
              </a:solidFill>
              <a:latin typeface="Intel Clear" panose="020B0604020203020204" pitchFamily="34" charset="0"/>
              <a:cs typeface="Neo Sans Intel Light"/>
            </a:endParaRPr>
          </a:p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(</a:t>
            </a:r>
            <a:r>
              <a:rPr lang="en-US" sz="1200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SPI)</a:t>
            </a:r>
            <a:endParaRPr lang="en-US" sz="1200" dirty="0">
              <a:solidFill>
                <a:schemeClr val="tx1"/>
              </a:solidFill>
              <a:latin typeface="Intel Clear" panose="020B0604020203020204" pitchFamily="34" charset="0"/>
              <a:cs typeface="Neo Sans Intel Light"/>
            </a:endParaRPr>
          </a:p>
        </p:txBody>
      </p:sp>
      <p:sp>
        <p:nvSpPr>
          <p:cNvPr id="95" name="Title 2"/>
          <p:cNvSpPr txBox="1">
            <a:spLocks/>
          </p:cNvSpPr>
          <p:nvPr/>
        </p:nvSpPr>
        <p:spPr>
          <a:xfrm>
            <a:off x="1287594" y="1719164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Yocto Project 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Poky Linux*</a:t>
            </a:r>
          </a:p>
        </p:txBody>
      </p:sp>
      <p:sp>
        <p:nvSpPr>
          <p:cNvPr id="96" name="Title 2"/>
          <p:cNvSpPr txBox="1">
            <a:spLocks/>
          </p:cNvSpPr>
          <p:nvPr/>
        </p:nvSpPr>
        <p:spPr>
          <a:xfrm>
            <a:off x="4434986" y="1730419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Yocto Project 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Poky Linux*</a:t>
            </a:r>
          </a:p>
        </p:txBody>
      </p:sp>
      <p:sp>
        <p:nvSpPr>
          <p:cNvPr id="97" name="Title 2"/>
          <p:cNvSpPr txBox="1">
            <a:spLocks/>
          </p:cNvSpPr>
          <p:nvPr/>
        </p:nvSpPr>
        <p:spPr>
          <a:xfrm>
            <a:off x="5992375" y="1712068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Yocto Project 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Poky Linux*</a:t>
            </a:r>
          </a:p>
        </p:txBody>
      </p:sp>
      <p:sp>
        <p:nvSpPr>
          <p:cNvPr id="98" name="Title 2"/>
          <p:cNvSpPr txBox="1">
            <a:spLocks/>
          </p:cNvSpPr>
          <p:nvPr/>
        </p:nvSpPr>
        <p:spPr>
          <a:xfrm>
            <a:off x="7571309" y="1699371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VxWorks*</a:t>
            </a:r>
            <a:endParaRPr lang="en-US" sz="1200" dirty="0">
              <a:solidFill>
                <a:schemeClr val="tx1"/>
              </a:solidFill>
              <a:latin typeface="Intel Clear" panose="020B0604020203020204" pitchFamily="34" charset="0"/>
              <a:cs typeface="Neo Sans Intel Light"/>
            </a:endParaRPr>
          </a:p>
        </p:txBody>
      </p:sp>
      <p:cxnSp>
        <p:nvCxnSpPr>
          <p:cNvPr id="99" name="Straight Connector 98"/>
          <p:cNvCxnSpPr/>
          <p:nvPr/>
        </p:nvCxnSpPr>
        <p:spPr>
          <a:xfrm>
            <a:off x="161109" y="2269742"/>
            <a:ext cx="8817377" cy="0"/>
          </a:xfrm>
          <a:prstGeom prst="line">
            <a:avLst/>
          </a:prstGeom>
          <a:ln w="12700" cmpd="sng">
            <a:solidFill>
              <a:schemeClr val="tx1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1" name="Title 2"/>
          <p:cNvSpPr txBox="1">
            <a:spLocks/>
          </p:cNvSpPr>
          <p:nvPr/>
        </p:nvSpPr>
        <p:spPr>
          <a:xfrm>
            <a:off x="86216" y="2391129"/>
            <a:ext cx="1059702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b="1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IDE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Dev Env</a:t>
            </a:r>
          </a:p>
        </p:txBody>
      </p:sp>
      <p:sp>
        <p:nvSpPr>
          <p:cNvPr id="102" name="Title 2"/>
          <p:cNvSpPr txBox="1">
            <a:spLocks/>
          </p:cNvSpPr>
          <p:nvPr/>
        </p:nvSpPr>
        <p:spPr>
          <a:xfrm>
            <a:off x="2846666" y="2281529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Arduino* </a:t>
            </a:r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IDE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Win / Mac/ Linux</a:t>
            </a:r>
          </a:p>
        </p:txBody>
      </p:sp>
      <p:sp>
        <p:nvSpPr>
          <p:cNvPr id="103" name="Title 2"/>
          <p:cNvSpPr txBox="1">
            <a:spLocks/>
          </p:cNvSpPr>
          <p:nvPr/>
        </p:nvSpPr>
        <p:spPr>
          <a:xfrm>
            <a:off x="1270555" y="2317110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Wyliodrin*</a:t>
            </a:r>
            <a:endParaRPr lang="en-US" sz="1200" dirty="0">
              <a:solidFill>
                <a:schemeClr val="tx1"/>
              </a:solidFill>
              <a:latin typeface="Intel Clear" panose="020B0604020203020204" pitchFamily="34" charset="0"/>
              <a:cs typeface="Neo Sans Intel Light"/>
            </a:endParaRPr>
          </a:p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Web </a:t>
            </a:r>
          </a:p>
        </p:txBody>
      </p:sp>
      <p:sp>
        <p:nvSpPr>
          <p:cNvPr id="104" name="Title 2"/>
          <p:cNvSpPr txBox="1">
            <a:spLocks/>
          </p:cNvSpPr>
          <p:nvPr/>
        </p:nvSpPr>
        <p:spPr>
          <a:xfrm>
            <a:off x="4319784" y="2290737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XDK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Win/ Mac/ Linux</a:t>
            </a:r>
          </a:p>
        </p:txBody>
      </p:sp>
      <p:sp>
        <p:nvSpPr>
          <p:cNvPr id="105" name="Title 2"/>
          <p:cNvSpPr txBox="1">
            <a:spLocks/>
          </p:cNvSpPr>
          <p:nvPr/>
        </p:nvSpPr>
        <p:spPr>
          <a:xfrm>
            <a:off x="5952980" y="2338852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Eclipse*</a:t>
            </a:r>
            <a:endParaRPr lang="en-US" sz="1200" dirty="0">
              <a:solidFill>
                <a:schemeClr val="tx1"/>
              </a:solidFill>
              <a:latin typeface="Intel Clear" panose="020B0604020203020204" pitchFamily="34" charset="0"/>
              <a:cs typeface="Neo Sans Intel Light"/>
            </a:endParaRPr>
          </a:p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Win/ Mac / Linux</a:t>
            </a:r>
          </a:p>
        </p:txBody>
      </p:sp>
      <p:sp>
        <p:nvSpPr>
          <p:cNvPr id="106" name="Title 2"/>
          <p:cNvSpPr txBox="1">
            <a:spLocks/>
          </p:cNvSpPr>
          <p:nvPr/>
        </p:nvSpPr>
        <p:spPr>
          <a:xfrm>
            <a:off x="7545828" y="2380280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WR </a:t>
            </a:r>
            <a:r>
              <a:rPr lang="en-US" sz="1200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Eclipse* </a:t>
            </a:r>
            <a:endParaRPr lang="en-US" sz="1200" dirty="0">
              <a:solidFill>
                <a:schemeClr val="tx1"/>
              </a:solidFill>
              <a:latin typeface="Intel Clear" panose="020B0604020203020204" pitchFamily="34" charset="0"/>
              <a:cs typeface="Neo Sans Intel Light"/>
            </a:endParaRPr>
          </a:p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Win / Linux</a:t>
            </a:r>
          </a:p>
        </p:txBody>
      </p:sp>
      <p:cxnSp>
        <p:nvCxnSpPr>
          <p:cNvPr id="107" name="Straight Connector 106"/>
          <p:cNvCxnSpPr/>
          <p:nvPr/>
        </p:nvCxnSpPr>
        <p:spPr>
          <a:xfrm>
            <a:off x="161109" y="2993507"/>
            <a:ext cx="8817377" cy="0"/>
          </a:xfrm>
          <a:prstGeom prst="line">
            <a:avLst/>
          </a:prstGeom>
          <a:ln w="12700" cmpd="sng">
            <a:solidFill>
              <a:schemeClr val="tx1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9" name="Title 2"/>
          <p:cNvSpPr txBox="1">
            <a:spLocks/>
          </p:cNvSpPr>
          <p:nvPr/>
        </p:nvSpPr>
        <p:spPr>
          <a:xfrm>
            <a:off x="103059" y="3050973"/>
            <a:ext cx="1059702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b="1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Programming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Language</a:t>
            </a:r>
          </a:p>
        </p:txBody>
      </p:sp>
      <p:sp>
        <p:nvSpPr>
          <p:cNvPr id="110" name="Title 2"/>
          <p:cNvSpPr txBox="1">
            <a:spLocks/>
          </p:cNvSpPr>
          <p:nvPr/>
        </p:nvSpPr>
        <p:spPr>
          <a:xfrm>
            <a:off x="2862523" y="3111620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Arduino* </a:t>
            </a:r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Sketch 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C++</a:t>
            </a:r>
          </a:p>
        </p:txBody>
      </p:sp>
      <p:sp>
        <p:nvSpPr>
          <p:cNvPr id="111" name="Title 2"/>
          <p:cNvSpPr txBox="1">
            <a:spLocks/>
          </p:cNvSpPr>
          <p:nvPr/>
        </p:nvSpPr>
        <p:spPr>
          <a:xfrm>
            <a:off x="1247117" y="3103242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Visual </a:t>
            </a:r>
          </a:p>
          <a:p>
            <a:pPr algn="ctr"/>
            <a:r>
              <a:rPr lang="en-US" sz="1200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Python</a:t>
            </a:r>
            <a:endParaRPr lang="en-US" sz="1200" dirty="0">
              <a:solidFill>
                <a:schemeClr val="tx1"/>
              </a:solidFill>
              <a:latin typeface="Intel Clear" panose="020B0604020203020204" pitchFamily="34" charset="0"/>
              <a:cs typeface="Neo Sans Intel Light"/>
            </a:endParaRPr>
          </a:p>
        </p:txBody>
      </p:sp>
      <p:sp>
        <p:nvSpPr>
          <p:cNvPr id="112" name="Title 2"/>
          <p:cNvSpPr txBox="1">
            <a:spLocks/>
          </p:cNvSpPr>
          <p:nvPr/>
        </p:nvSpPr>
        <p:spPr>
          <a:xfrm>
            <a:off x="4415211" y="3117972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JavaScript 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(Node JS)</a:t>
            </a:r>
          </a:p>
        </p:txBody>
      </p:sp>
      <p:sp>
        <p:nvSpPr>
          <p:cNvPr id="113" name="Title 2"/>
          <p:cNvSpPr txBox="1">
            <a:spLocks/>
          </p:cNvSpPr>
          <p:nvPr/>
        </p:nvSpPr>
        <p:spPr>
          <a:xfrm>
            <a:off x="5951871" y="3140517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C/ C++</a:t>
            </a:r>
          </a:p>
        </p:txBody>
      </p:sp>
      <p:sp>
        <p:nvSpPr>
          <p:cNvPr id="114" name="Title 2"/>
          <p:cNvSpPr txBox="1">
            <a:spLocks/>
          </p:cNvSpPr>
          <p:nvPr/>
        </p:nvSpPr>
        <p:spPr>
          <a:xfrm>
            <a:off x="7591231" y="3050973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C / C++</a:t>
            </a:r>
          </a:p>
        </p:txBody>
      </p:sp>
      <p:cxnSp>
        <p:nvCxnSpPr>
          <p:cNvPr id="115" name="Straight Connector 114"/>
          <p:cNvCxnSpPr/>
          <p:nvPr/>
        </p:nvCxnSpPr>
        <p:spPr>
          <a:xfrm>
            <a:off x="161109" y="3580120"/>
            <a:ext cx="8817377" cy="0"/>
          </a:xfrm>
          <a:prstGeom prst="line">
            <a:avLst/>
          </a:prstGeom>
          <a:ln w="12700" cmpd="sng">
            <a:solidFill>
              <a:schemeClr val="tx1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7" name="Title 2"/>
          <p:cNvSpPr txBox="1">
            <a:spLocks/>
          </p:cNvSpPr>
          <p:nvPr/>
        </p:nvSpPr>
        <p:spPr>
          <a:xfrm>
            <a:off x="84909" y="3637586"/>
            <a:ext cx="1059702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b="1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Tools/ Libraries</a:t>
            </a:r>
          </a:p>
        </p:txBody>
      </p:sp>
      <p:sp>
        <p:nvSpPr>
          <p:cNvPr id="118" name="Title 2"/>
          <p:cNvSpPr txBox="1">
            <a:spLocks/>
          </p:cNvSpPr>
          <p:nvPr/>
        </p:nvSpPr>
        <p:spPr>
          <a:xfrm>
            <a:off x="2851491" y="3621702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Arduino* Libraries</a:t>
            </a:r>
            <a:endParaRPr lang="en-US" sz="1200" dirty="0">
              <a:solidFill>
                <a:schemeClr val="tx1"/>
              </a:solidFill>
              <a:latin typeface="Intel Clear" panose="020B0604020203020204" pitchFamily="34" charset="0"/>
              <a:cs typeface="Neo Sans Intel Light"/>
            </a:endParaRPr>
          </a:p>
        </p:txBody>
      </p:sp>
      <p:sp>
        <p:nvSpPr>
          <p:cNvPr id="119" name="Title 2"/>
          <p:cNvSpPr txBox="1">
            <a:spLocks/>
          </p:cNvSpPr>
          <p:nvPr/>
        </p:nvSpPr>
        <p:spPr>
          <a:xfrm>
            <a:off x="1288138" y="3637586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Wyliodrin*</a:t>
            </a:r>
            <a:endParaRPr lang="en-US" sz="1200" dirty="0">
              <a:solidFill>
                <a:schemeClr val="tx1"/>
              </a:solidFill>
              <a:latin typeface="Intel Clear" panose="020B0604020203020204" pitchFamily="34" charset="0"/>
              <a:cs typeface="Neo Sans Intel Light"/>
            </a:endParaRPr>
          </a:p>
        </p:txBody>
      </p:sp>
      <p:sp>
        <p:nvSpPr>
          <p:cNvPr id="120" name="Title 2"/>
          <p:cNvSpPr txBox="1">
            <a:spLocks/>
          </p:cNvSpPr>
          <p:nvPr/>
        </p:nvSpPr>
        <p:spPr>
          <a:xfrm>
            <a:off x="4415211" y="3637586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Intel® </a:t>
            </a:r>
            <a:r>
              <a:rPr lang="en-US" sz="1200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XDK</a:t>
            </a:r>
            <a:endParaRPr lang="en-US" sz="1200" dirty="0">
              <a:solidFill>
                <a:schemeClr val="tx1"/>
              </a:solidFill>
              <a:latin typeface="Intel Clear" panose="020B0604020203020204" pitchFamily="34" charset="0"/>
              <a:cs typeface="Neo Sans Intel Light"/>
            </a:endParaRPr>
          </a:p>
        </p:txBody>
      </p:sp>
      <p:sp>
        <p:nvSpPr>
          <p:cNvPr id="121" name="Title 2"/>
          <p:cNvSpPr txBox="1">
            <a:spLocks/>
          </p:cNvSpPr>
          <p:nvPr/>
        </p:nvSpPr>
        <p:spPr>
          <a:xfrm>
            <a:off x="5988831" y="3637586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ISS</a:t>
            </a:r>
          </a:p>
        </p:txBody>
      </p:sp>
      <p:sp>
        <p:nvSpPr>
          <p:cNvPr id="122" name="Title 2"/>
          <p:cNvSpPr txBox="1">
            <a:spLocks/>
          </p:cNvSpPr>
          <p:nvPr/>
        </p:nvSpPr>
        <p:spPr>
          <a:xfrm>
            <a:off x="7556043" y="3637586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Work Bench / ISS</a:t>
            </a:r>
          </a:p>
        </p:txBody>
      </p:sp>
      <p:cxnSp>
        <p:nvCxnSpPr>
          <p:cNvPr id="123" name="Straight Connector 122"/>
          <p:cNvCxnSpPr/>
          <p:nvPr/>
        </p:nvCxnSpPr>
        <p:spPr>
          <a:xfrm>
            <a:off x="161109" y="4166733"/>
            <a:ext cx="8817377" cy="0"/>
          </a:xfrm>
          <a:prstGeom prst="line">
            <a:avLst/>
          </a:prstGeom>
          <a:ln w="12700" cmpd="sng">
            <a:solidFill>
              <a:schemeClr val="tx1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5" name="Title 2"/>
          <p:cNvSpPr txBox="1">
            <a:spLocks/>
          </p:cNvSpPr>
          <p:nvPr/>
        </p:nvSpPr>
        <p:spPr>
          <a:xfrm>
            <a:off x="74694" y="4224202"/>
            <a:ext cx="1059702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b="1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Cloud</a:t>
            </a:r>
          </a:p>
        </p:txBody>
      </p:sp>
      <p:sp>
        <p:nvSpPr>
          <p:cNvPr id="126" name="Title 2"/>
          <p:cNvSpPr txBox="1">
            <a:spLocks/>
          </p:cNvSpPr>
          <p:nvPr/>
        </p:nvSpPr>
        <p:spPr>
          <a:xfrm>
            <a:off x="2841275" y="4208318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IoT Cloud Analytics</a:t>
            </a:r>
          </a:p>
        </p:txBody>
      </p:sp>
      <p:sp>
        <p:nvSpPr>
          <p:cNvPr id="127" name="Title 2"/>
          <p:cNvSpPr txBox="1">
            <a:spLocks/>
          </p:cNvSpPr>
          <p:nvPr/>
        </p:nvSpPr>
        <p:spPr>
          <a:xfrm>
            <a:off x="1287595" y="4194556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IoT Cloud Analytics </a:t>
            </a:r>
            <a:r>
              <a:rPr lang="en-US" sz="1200" dirty="0" smtClean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Widget</a:t>
            </a:r>
            <a:endParaRPr lang="en-US" sz="1200" dirty="0">
              <a:solidFill>
                <a:schemeClr val="tx1"/>
              </a:solidFill>
              <a:latin typeface="Intel Clear" panose="020B0604020203020204" pitchFamily="34" charset="0"/>
              <a:cs typeface="Neo Sans Intel Light"/>
            </a:endParaRPr>
          </a:p>
        </p:txBody>
      </p:sp>
      <p:sp>
        <p:nvSpPr>
          <p:cNvPr id="128" name="Title 2"/>
          <p:cNvSpPr txBox="1">
            <a:spLocks/>
          </p:cNvSpPr>
          <p:nvPr/>
        </p:nvSpPr>
        <p:spPr>
          <a:xfrm>
            <a:off x="4404995" y="4224202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IoT Cloud Analytics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Mashery/ 3</a:t>
            </a:r>
            <a:r>
              <a:rPr lang="en-US" sz="1200" baseline="300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rd</a:t>
            </a:r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 party</a:t>
            </a:r>
          </a:p>
        </p:txBody>
      </p:sp>
      <p:sp>
        <p:nvSpPr>
          <p:cNvPr id="129" name="Title 2"/>
          <p:cNvSpPr txBox="1">
            <a:spLocks/>
          </p:cNvSpPr>
          <p:nvPr/>
        </p:nvSpPr>
        <p:spPr>
          <a:xfrm>
            <a:off x="5978615" y="4224202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IoT Cloud Analytics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Mashery/ 3</a:t>
            </a:r>
            <a:r>
              <a:rPr lang="en-US" sz="1200" baseline="300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rd</a:t>
            </a:r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 Party</a:t>
            </a:r>
          </a:p>
        </p:txBody>
      </p:sp>
      <p:sp>
        <p:nvSpPr>
          <p:cNvPr id="130" name="Title 2"/>
          <p:cNvSpPr txBox="1">
            <a:spLocks/>
          </p:cNvSpPr>
          <p:nvPr/>
        </p:nvSpPr>
        <p:spPr>
          <a:xfrm>
            <a:off x="7545828" y="4224202"/>
            <a:ext cx="1454481" cy="47168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  <a:cs typeface="Neo Sans Intel Light"/>
              </a:rPr>
              <a:t>WR Cloud</a:t>
            </a:r>
          </a:p>
        </p:txBody>
      </p:sp>
      <p:pic>
        <p:nvPicPr>
          <p:cNvPr id="131" name="Picture 4" descr="140x14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4936" y="2784575"/>
            <a:ext cx="1037954" cy="338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2" name="Picture 12" descr="https://lh3.googleusercontent.com/-XW1x_JT1g24/AAAAAAAAAAI/AAAAAAAAACs/BO3Un-dNcq0/phot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991" y="2686622"/>
            <a:ext cx="501355" cy="500223"/>
          </a:xfrm>
          <a:prstGeom prst="rect">
            <a:avLst/>
          </a:prstGeom>
          <a:noFill/>
          <a:effectLst>
            <a:softEdge rad="254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13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7030" y="2731891"/>
            <a:ext cx="865498" cy="438845"/>
          </a:xfrm>
          <a:prstGeom prst="rect">
            <a:avLst/>
          </a:prstGeom>
          <a:effectLst>
            <a:softEdge rad="25400"/>
          </a:effectLst>
        </p:spPr>
      </p:pic>
      <p:pic>
        <p:nvPicPr>
          <p:cNvPr id="134" name="Picture 8" descr="https://raw.github.com/yoshimov/chocolatey-packages/master/eclipse-java-juno/Eclipse_Icon_by_flosweb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7738" y="2728868"/>
            <a:ext cx="535502" cy="535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" name="Picture 13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87897" y="2878438"/>
            <a:ext cx="1386776" cy="239534"/>
          </a:xfrm>
          <a:prstGeom prst="rect">
            <a:avLst/>
          </a:prstGeom>
          <a:effectLst>
            <a:reflection endPos="0" dist="50800" dir="5400000" sy="-100000" algn="bl" rotWithShape="0"/>
            <a:softEdge rad="38100"/>
          </a:effectLst>
        </p:spPr>
      </p:pic>
    </p:spTree>
    <p:extLst>
      <p:ext uri="{BB962C8B-B14F-4D97-AF65-F5344CB8AC3E}">
        <p14:creationId xmlns:p14="http://schemas.microsoft.com/office/powerpoint/2010/main" val="3671887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AutoShape 10" descr="data:image/jpeg;base64,/9j/4AAQSkZJRgABAQAAAQABAAD/2wCEAAkGBxAODw8PDw8PDQ0QEA0ODw8NDw8NDw8OFBQWFhUWFRQYHCggGBolGxQUITIhJSwrLi4uGB8zODMsNygtLi0BCgoKDg0OGxAQGywmHyYsNCwsLSwsLC4sLSssLCwsLDcsLSwsLCwsLCwsLCwsLDQsLCw0LCwsLCwsLCwsLCwsLP/AABEIAMIBAwMBIgACEQEDEQH/xAAcAAEAAgMBAQEAAAAAAAAAAAAAAQIEBQYDBwj/xAA7EAACAgECBAQDBgQFBAMAAAABAgADEQQhBRIxQQYTIlEyYXEUQoGRodEjM1LBB2Jy4fAVsbPxJENT/8QAGgEBAQEBAQEBAAAAAAAAAAAAAAECAwQGBf/EACcRAQACAQQBAwQDAQAAAAAAAAABAhEDEiExBEFR8BNCYbFSkaEy/9oADAMBAAIRAxEAPwD6/EiTKEREBERARJiAiIgJEmIERJkQIiTECsSZECJEtIgRIlpGIFZEtIgVkS0YgUkS0QKyJaRArEmRAiJMQMyTIkwEREBERAmJEmAiIgIiICJ523onxMF+p3P0HeYx1zMcV1M3+Z/Qv7/pIMyJzfGPEVGm2v1tVT//AJ0gWOPqBk/niefDvEItbFeqou9lYcj4/SMszaI7dRImvTiD/eqJH9VbBh+U9quIVOcc3K3TDgqc/jC5ZMSZEKiJMiBEiWkSiJEtIgVkS0jECsiWkQKRLYkQIxEmIGXERAREQEREBEhmA3JAHudpinXg7Vq1h9wML+Z/tAy5S25UGWYKP8xAmp4hxWunP2jUV6VcZwSAx+hO5/ATkOI/4iaGpiNPXbqLCCPOcBVB7fFud/pJlJ6y7m3iigZCtyDq7Aog/Pf9JzvEvF+mqGbdV74q04wx+p6/licZxbiturrDC62wb+aoGAg6HlCnt+uJwV6lWIJzud/f5zMW3MRF7d8fP6/b6po/8QqWt5aqURTtz3lifqSN/l+M0fjbxFq7s41BrqB5fKpLVK6n73ufY7+04Rc9pvjfZcKq3LOyD+XgDK9weUbHlG5Y53jE5/C4ivrLR8823AeJWUv6SwrbAsx/R7/hPduEVLYf4g8vBf0K9rJ7KQMYJ3Azv6TsJ5DitNDsaa/OHp5G1CqOTHX0Lsd5ZrmMSu/+LcWa25LWOke4ABnYIx9PL8RONgPxM3nhjxazuKNU9diuQofC5rsPRXOO/v8A7zmarWUi5HHK5YpalflKjkboQQQV6+kbZ3zLaDlsDKy2+QzYBrAKrqT0IRWYsPntkmTpwxzmO/8AH2rQajGEY5H3Cev+k/OZ04LwvxWwr9l1SumorUFS6sjW1D765G5Xv9PkZ2uiv5xg/EMZI6MD0Imnelt0MiIiGiRJiBEiTEorIlpECsiWkYgVMiWkQIkS0iBkyZEQJjMiQYHlqNSK8ZDMTnAUZJmPZbaRklaE7sxBOPqdhL69ii+YoyVzt7jafPPFHmWOVayxltBfTkKbCW7V8ucA5kly1NTbOGbxjx7odMWCebrr1yM7pWGHX1N/YGcnf/iZrWY8vl01HPprUMwH+pu857jNPOWtVCpBC2rg5VumT7Zx0+s1temdtwu3udh27nvuNpHSJi1Wfxu7zmGo52drBmzmJJSz2z3Bxkf7TVkzf8K0tSo3nOStivWpCA182T0sOwIIBz9d+0twfhdl/K+m0738pPmgLy1JgnZtQx5RsfcSpW3GGNwa1k5ld2rpcqGUtYEJ92VfiwM7bdZm6rRaZV5Lb1FiuOUohYeW2DkkHGOpx1H4z11XCwx/i67hOmIwOSu6y91xnY+Sjrnf37CeF3hPUNW92mt0vEq6xzWfYbjbbWvu9TKr/kDLCbZzliWauil0NHNYF+IWoqo25xjG+MHvvMbXcTe4qWCLyjC+WipgZJ6jfvMjhGnrerUP5f2nUVBLEoZ3Ss0b+ZZhMM5U8h5QV9JY74Mrr9Ffjzr6U0teFwgWnSsyZ/8ArpJDWHf4sH5mVqKwnQi4IH5xVVYbkDu7BGtrUOa2K7hjlcc2OvtkzMp8L22IdQxXTaTCk26glASdjyqBzNvnYA4nprdVXp77tI1Na8NtIOal8y2yg5On1S2tlmcK3NgEKeZ1wMnG1fi9lKWc66a+5fK+0eepvq1VDDlo1lak4cEMA2xPrDd3AkpPHKmj0ejp02pKM2tsXyVYAGqsI7H15xz8vMqrtjd1ziW4dqK2qudGspRlWrU8rvY9CkqqXVPszIGKK9eT6WHXI5cGziVdSOVfT3agsBW2m0oorFJBFqXKUVbFYHHLhumeYdDg3cWZksRKqaBbyi01C0tYAwYAtY7EDmVTgYyQM5kcLWhueGi/TM9VodK0dXW+sNYulux6LlI61sMZx8SkHcgTtvCXiJrgSqBiQodeblFbjPw/5TuRPltPE7krapbXWp8BkB2YDoDNlwHiK6Ui5Xc283LZVy+hqvfm7GGazMTmH3LS6gWKGG3Yg9VbuDPac9w3iAdV1FZ50ZQXA+8vvj+oe3+036OGAIOQRkEdxD1ROYytIkxCokS0iURIkxArIloxArIlpECsScRA94iIESDLSIFSAQQeh2nI8Z4bu1RJUMeemwHBru7YPYH/AL4nXmYnE9GL6yv3h0MOepTdGHx/VGvTm4WabmsIVGVTax5V+Oxsgjrg7nqB2ltRo6F8o7Vo3IyMjG2x16AYOQfblxN94n0bNU1q5F9IC3coyXToHx3/AHE1Hh1a6RTq9TUTRdf5FQuWypqjjmNuxyoBK7DOc9Zi2ccOejbH/UNXq+H0aBSbU+26hS3Jp/VXpKiO93Lgu+ME1KQB0Y9RNfxY8R1VFeovW59EfMFPloF0tYr+Llqr9NYGDuQOh3ODPrFfhugG6m1F1OoCedpkditOorx1AXBJG+RneaP7Xo9PpnKs1HCdeH0utootZrOH68LtbUM8zVsAMqM9F2wWEtbe70zEQ5fw74X1VV1Fz6fSapgg1J4ZfdSdXdpT1YUN8txnG4G3abJeDXabjHDLdA7vo9TYjaNzkFNPnmvofO4KJz5U74HuDhrPHdSV16d/M4gKErX7Vp7buFrqwowFvTBZgMe+GydpfgHB77abNXxC9+E8FFralKKy1Ja055fIU5ZBv1G7Z2BzmbRzPiXVrRxbVXaJvLFWqd6Wr6K4Pqx2K83Pt0IOOkx9WNHbY1/nPULMO+nSp7rksPxqrsQpTPRi2cEAjImpcKCQpJQEhSwCkrnYkdjjtKwNi3FGXCVAGhCfKTV1abWNXnduVnr9OTvgADfud5i6rVWXPz2u1j7Dmc5IA6AewHsNhPCMQMjT5YhR1PuQB+ZmZTpwwLZJCNy2Csc7Kv8AV7Y/GadrR/zaZH/VbO3KPSFzyjp9BtMzn0c/pxlujpUVfXivkcByOZ+ett+YEbZA7f8AeYbcSqTHKpsbY5bYA4YNgD35h0x8PQzTPaW+Ikn5wIiG9kOw8IeMG0tqpZtpWOG7msn7309x7fMCfZeHatRggg0vuCDkIx+f9J/51n5rBn0X/DbxQBjQ3nKnahj/AOM/2/L2hYrERw+yxMPQ6j7hOTjKN/Uv7iZsCIkxArEmJRWJMiBEiWkQKyYiB6xEQEiTECJEtIIgaPjehwwvQdiLF7Mp6gzm+IaTTNSdJY66ZLH+06XVZOK9UBykWewIwD+c751BBB3B2M4bxLwQ1gn4qnbHNjJXPTmkcdSvrDVnhfG+TTrUv2hdO5bTXaa3TOqKRggXPYH5SD0IPbsJga7wHczNdrtTpeHKzMXbU6hLbDnfm2wCSSdsiaji13LajBRXfVyjmQDksUdMr0x8t+pnP8YrXzC6HIs9Z9PKUc/Ep2x1z07SQtZi3Dr14jwbhJB0tNnGNaMFb9UPK01Z7MiEb+42P+oTl/EXiLVcSs8zVWl8Z5K19NVWf6E7fU5PzmDp1suArVS5rWxl5ULPy9WBI+6Nz8t5lW8IdBUzMoFgVh1GFYZXr74P6e806TOGtkovMce5wPrNzpOB8+TlivIW5lAIrs+6lhOAvTfGcTHv16q2dieUIUrUIpAPqVsH1Docn2MTLO7PTGr0jHqOQenJOTygkjLEDbcTK1Oh+zPixVLABwzufLsQ9OUYBz+PaYGp4q7cyqORCwbG3Ud8AAdMdpgM7NuSWOwycnaTlqKznll681s5NZyP9PJn6CYuJUGXzDaMQDLZjEAJdGIIIJBBBBGxB9xK4kiB9k8B+JvttQqtbl1VWPV0Ldg4+vQj3+on0DSX8432YbMPY/tPzPwzX2aa1Lqjyuhz8iO6n3BG0+6eG+NLq6U1FeebGGQ9SB8Sn5j3+h7wzLq4lKrAwDDcGXgJEmJREiWkQKxJiBWTEQLxEQEREBERAgzyvqWxWRhlWBBHyM9ZED5l4j4Cr12FB/GoZgw7vXk4b95x9fLWHSxFvRgp5GLBebbldWHfJZfwM+x8b0hVhegyRs47MvcH/ntPnfifhnlMr0qzV2EmoqcMObZqye3X5dc+8zLyzXZZpF11FblW5q6LB/GRMVctwXHpRCSVHT1e+ZrdbxlWRFrqCunMps2XnrzsCg6Hoepmq1NfI3uDuD7ieeZXpisTy9LdTYwILsVJBK5wpPuR0zPIoB8W3yHX/aeigrg7ZPTvj8JYac9Tj35SdyIbY7H2GP1P5yFQtnc5G+PcTMNagqRnkbIPtn2MWDlGdsjcNker5ADtAwVXmyD1AJBnniZjNsxVcA4yfb3xMfECgkgz1rrDEAnGe5nQabw41e96MM/DkqQcddgdiNtjDnqalaRmXPVVsxwoJPymwr4Ncdyp5fTk5GACcAk/86Td0soGK1AHYnYfhMlUZwFJyCcgbAcx2mcvDfz9s9NRoOFrkGzcKcsq7kqO3NnbPTIzidx4e4glNqhV8ik4BAZnwezHP13+UxK9OdKjOqK9xypDElBWTjPKME+oYP4dczWafilpt8nUsiD7gCqqVntjlGw/51kmcLP19am6nExzh9h0t3Kc/dPxDqFb3HyM2QnD+GOKZ/gWfEBhM/eX+n9p1ujt6LnIxlD7j2m4l6PH141a5j5LLiIh3IkyJREiWkQIkS0iBaIiAiIgTIkxAiQZMGBRlDAqdwdpx3GOHBefT2fybd62O/Jb2P0PT/3OyMxOKaIX1lSNxuJGL13Rh8K47wlkZ0YBSrY3cE8/XoTnBGd8Y6e85pRhgDtuM5n1vjugNqM2P/kUKy2Aj+ZSRjJHfH9vlPmvFtCVHPjfbOMkEdjnAzjoT7iRjSv9s/Pn7YyPhmR9gxO/se0h7uh++pxnsRPIX5GGAbHQ9CBPRbK+1ZP1baV6EG5iTy7A/dXOIWoDdjj5DqZD3HsAnyE8uu/5+8C9ludhsvsJ58s9AoH7ZB2kZxkH8DA8p1fBOJtcnJYzNYgwCzFiV7dZyx+UydCXR1ddiD32BHcQ462lGpTDqnp5TkdD+hlwJnstXIFZh5rVq4GSGJO5BTG2B8+omGlZBx+R9xMTD5/yNO1J5WruZWDdSBghtwynYqfliZGs4U2t8taWUbMUL5JAXcrkD4hn8QQZCUZm78ON5dmB33H3cOBsQexwSPxjDp4Pk2pqY9JKPD12mqUtYbLFyy+nlPINyAc7kdfp+E6nhWu82sE7Wd/9Y+8PrFuoSwlKKzc2fUwBIA75czK4VwY1epzv15RuB9TNQ/RjTn6++nU9+zcKZaVlhNPeREQEiTECJEmICIiAkxEBERASJMSCpkS0gyjQ+INEVI1FY9S/EOzDuD8iP7T5x4o4Yq4evPkWhjUMZ5X71n2GcjHzz2M+xsoIKncHacbxnhoUvQ/8i74G7V29j/aSYcdSv3Q+IaqjkPup3UzyXO47/tOp41w4qzV3MFbn5d1ACn7rddwd9gOgnNDSWc5rCMzgkEIC52+nUQ6ad90ZVqJ3wO2+2cftIJ3z0+WJl/8ATbB/NIq/yuSX/BBv+eJl1aNKz8HmsMZ8zI5Seh5B2zgZJ7iG8tZRW755FLEDcqucD3PtPWrRMfwwDjB3JwPlNwH5yFYO1XqXlChVQY3KquFBG5mZRwtmbksf0nmwM+kvjr7YI9s9JMsTqQ06aAAA9Qc+oZ+IfEuSMZGQe/WZuh05dwETmboBnZsjDBjgnf5dCZ0lHDUrWt0XlyGQ4BQcy9d+v5Y6T30PAbbX/h1s4B2wMKPqTsIcL3nPDR08PCkEEls4BG+D1B/QibfTadmI6kn2nZ8P8IYwbWCD+irc/ix+s6HRcMpo/l1qD/Ud2/MyuV/GnU74cfw7wza+CRyD3fb9Os6LReHKa/jza3z9K/lN1iTiHTT8TTp6ZVrrCjCgKo6BQAJbEmTK9SIkxAREQIiTIgIiIEREQJiIgIiICIiAkSYkFTMTieiF9ZU9cHEzCJEo+Z8c0BsRucE20ghwCV82noc4/WcY7vzstIsDYwoBFZNWejHPq2x3n2Tj/DycX1fzF6jswPUH5ThdXowtisVCEEnlXOMHrsT7bfhMzDz42W/DlhpRYykB60cA2chRAxJweVdyACO/95t+G8DWosGQHkYc5I9T1vsAd8bfltN3pOA23k+XSeTJKtZ/DUA+2f7TpNL4TyebUWlycZWr0g492O5/SIhZm1unDJofUUUY3AAT1MSpx2+XtOh4b4VvfkZlFAHLhrN327hf3xO30XD6qBiqtU+YHqP1Y7mZOJcNRp+8tJoPDVFWC4NzZzmz4cnr6f3zNyiADAAAHQAYAl8SZXSKxHSAJIEmIVEmIgIiICIiAiIgIiIEREQIiIgTERAREQEREBERARiIgQVExxoag3MK05vflBMyYgVxJxJkwIxEmICIiAiIgIiICIiAiIgIiICIiAiIgViIgJMRAREQEREBERAmIiAiIgIiICIiAiIgIiICIiAiIgIiICIiAiIgIkSYFYiIExEQEREBERAREQJiIgIiICIiAiIgIiICIiAiIgIiICIiAiIgIiICIiB//9k="/>
          <p:cNvSpPr>
            <a:spLocks noChangeAspect="1" noChangeArrowheads="1"/>
          </p:cNvSpPr>
          <p:nvPr/>
        </p:nvSpPr>
        <p:spPr bwMode="auto">
          <a:xfrm>
            <a:off x="116681" y="-108347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200" dirty="0"/>
          </a:p>
        </p:txBody>
      </p:sp>
      <p:sp>
        <p:nvSpPr>
          <p:cNvPr id="4" name="AutoShape 12" descr="data:image/jpeg;base64,/9j/4AAQSkZJRgABAQAAAQABAAD/2wCEAAkGBxAODw8PDw8PDQ0QEA0ODw8NDw8NDw8OFBQWFhUWFRQYHCggGBolGxQUITIhJSwrLi4uGB8zODMsNygtLi0BCgoKDg0OGxAQGywmHyYsNCwsLSwsLC4sLSssLCwsLDcsLSwsLCwsLCwsLCwsLDQsLCw0LCwsLCwsLCwsLCwsLP/AABEIAMIBAwMBIgACEQEDEQH/xAAcAAEAAgMBAQEAAAAAAAAAAAAAAQIEBQYDBwj/xAA7EAACAgECBAQDBgQFBAMAAAABAgADEQQhBRIxQQYTIlEyYXEUQoGRodEjM1LBB2Jy4fAVsbPxJENT/8QAGgEBAQEBAQEBAAAAAAAAAAAAAAECAwQGBf/EACcRAQACAQQBAwQDAQAAAAAAAAABAhEDEiExBEFR8BNCYbFSkaEy/9oADAMBAAIRAxEAPwD6/EiTKEREBERARJiAiIgJEmIERJkQIiTECsSZECJEtIgRIlpGIFZEtIgVkS0YgUkS0QKyJaRArEmRAiJMQMyTIkwEREBERAmJEmAiIgIiICJ523onxMF+p3P0HeYx1zMcV1M3+Z/Qv7/pIMyJzfGPEVGm2v1tVT//AJ0gWOPqBk/niefDvEItbFeqou9lYcj4/SMszaI7dRImvTiD/eqJH9VbBh+U9quIVOcc3K3TDgqc/jC5ZMSZEKiJMiBEiWkSiJEtIgVkS0jECsiWkQKRLYkQIxEmIGXERAREQEREBEhmA3JAHudpinXg7Vq1h9wML+Z/tAy5S25UGWYKP8xAmp4hxWunP2jUV6VcZwSAx+hO5/ATkOI/4iaGpiNPXbqLCCPOcBVB7fFud/pJlJ6y7m3iigZCtyDq7Aog/Pf9JzvEvF+mqGbdV74q04wx+p6/licZxbiturrDC62wb+aoGAg6HlCnt+uJwV6lWIJzud/f5zMW3MRF7d8fP6/b6po/8QqWt5aqURTtz3lifqSN/l+M0fjbxFq7s41BrqB5fKpLVK6n73ufY7+04Rc9pvjfZcKq3LOyD+XgDK9weUbHlG5Y53jE5/C4ivrLR8823AeJWUv6SwrbAsx/R7/hPduEVLYf4g8vBf0K9rJ7KQMYJ3Azv6TsJ5DitNDsaa/OHp5G1CqOTHX0Lsd5ZrmMSu/+LcWa25LWOke4ABnYIx9PL8RONgPxM3nhjxazuKNU9diuQofC5rsPRXOO/v8A7zmarWUi5HHK5YpalflKjkboQQQV6+kbZ3zLaDlsDKy2+QzYBrAKrqT0IRWYsPntkmTpwxzmO/8AH2rQajGEY5H3Cev+k/OZ04LwvxWwr9l1SumorUFS6sjW1D765G5Xv9PkZ2uiv5xg/EMZI6MD0Imnelt0MiIiGiRJiBEiTEorIlpECsiWkYgVMiWkQIkS0iBkyZEQJjMiQYHlqNSK8ZDMTnAUZJmPZbaRklaE7sxBOPqdhL69ii+YoyVzt7jafPPFHmWOVayxltBfTkKbCW7V8ucA5kly1NTbOGbxjx7odMWCebrr1yM7pWGHX1N/YGcnf/iZrWY8vl01HPprUMwH+pu857jNPOWtVCpBC2rg5VumT7Zx0+s1temdtwu3udh27nvuNpHSJi1Wfxu7zmGo52drBmzmJJSz2z3Bxkf7TVkzf8K0tSo3nOStivWpCA182T0sOwIIBz9d+0twfhdl/K+m0738pPmgLy1JgnZtQx5RsfcSpW3GGNwa1k5ld2rpcqGUtYEJ92VfiwM7bdZm6rRaZV5Lb1FiuOUohYeW2DkkHGOpx1H4z11XCwx/i67hOmIwOSu6y91xnY+Sjrnf37CeF3hPUNW92mt0vEq6xzWfYbjbbWvu9TKr/kDLCbZzliWauil0NHNYF+IWoqo25xjG+MHvvMbXcTe4qWCLyjC+WipgZJ6jfvMjhGnrerUP5f2nUVBLEoZ3Ss0b+ZZhMM5U8h5QV9JY74Mrr9Ffjzr6U0teFwgWnSsyZ/8ArpJDWHf4sH5mVqKwnQi4IH5xVVYbkDu7BGtrUOa2K7hjlcc2OvtkzMp8L22IdQxXTaTCk26glASdjyqBzNvnYA4nprdVXp77tI1Na8NtIOal8y2yg5On1S2tlmcK3NgEKeZ1wMnG1fi9lKWc66a+5fK+0eepvq1VDDlo1lak4cEMA2xPrDd3AkpPHKmj0ejp02pKM2tsXyVYAGqsI7H15xz8vMqrtjd1ziW4dqK2qudGspRlWrU8rvY9CkqqXVPszIGKK9eT6WHXI5cGziVdSOVfT3agsBW2m0oorFJBFqXKUVbFYHHLhumeYdDg3cWZksRKqaBbyi01C0tYAwYAtY7EDmVTgYyQM5kcLWhueGi/TM9VodK0dXW+sNYulux6LlI61sMZx8SkHcgTtvCXiJrgSqBiQodeblFbjPw/5TuRPltPE7krapbXWp8BkB2YDoDNlwHiK6Ui5Xc283LZVy+hqvfm7GGazMTmH3LS6gWKGG3Yg9VbuDPac9w3iAdV1FZ50ZQXA+8vvj+oe3+036OGAIOQRkEdxD1ROYytIkxCokS0iURIkxArIloxArIlpECsScRA94iIESDLSIFSAQQeh2nI8Z4bu1RJUMeemwHBru7YPYH/AL4nXmYnE9GL6yv3h0MOepTdGHx/VGvTm4WabmsIVGVTax5V+Oxsgjrg7nqB2ltRo6F8o7Vo3IyMjG2x16AYOQfblxN94n0bNU1q5F9IC3coyXToHx3/AHE1Hh1a6RTq9TUTRdf5FQuWypqjjmNuxyoBK7DOc9Zi2ccOejbH/UNXq+H0aBSbU+26hS3Jp/VXpKiO93Lgu+ME1KQB0Y9RNfxY8R1VFeovW59EfMFPloF0tYr+Llqr9NYGDuQOh3ODPrFfhugG6m1F1OoCedpkditOorx1AXBJG+RneaP7Xo9PpnKs1HCdeH0utootZrOH68LtbUM8zVsAMqM9F2wWEtbe70zEQ5fw74X1VV1Fz6fSapgg1J4ZfdSdXdpT1YUN8txnG4G3abJeDXabjHDLdA7vo9TYjaNzkFNPnmvofO4KJz5U74HuDhrPHdSV16d/M4gKErX7Vp7buFrqwowFvTBZgMe+GydpfgHB77abNXxC9+E8FFralKKy1Ja055fIU5ZBv1G7Z2BzmbRzPiXVrRxbVXaJvLFWqd6Wr6K4Pqx2K83Pt0IOOkx9WNHbY1/nPULMO+nSp7rksPxqrsQpTPRi2cEAjImpcKCQpJQEhSwCkrnYkdjjtKwNi3FGXCVAGhCfKTV1abWNXnduVnr9OTvgADfud5i6rVWXPz2u1j7Dmc5IA6AewHsNhPCMQMjT5YhR1PuQB+ZmZTpwwLZJCNy2Csc7Kv8AV7Y/GadrR/zaZH/VbO3KPSFzyjp9BtMzn0c/pxlujpUVfXivkcByOZ+ett+YEbZA7f8AeYbcSqTHKpsbY5bYA4YNgD35h0x8PQzTPaW+Ikn5wIiG9kOw8IeMG0tqpZtpWOG7msn7309x7fMCfZeHatRggg0vuCDkIx+f9J/51n5rBn0X/DbxQBjQ3nKnahj/AOM/2/L2hYrERw+yxMPQ6j7hOTjKN/Uv7iZsCIkxArEmJRWJMiBEiWkQKyYiB6xEQEiTECJEtIIgaPjehwwvQdiLF7Mp6gzm+IaTTNSdJY66ZLH+06XVZOK9UBykWewIwD+c751BBB3B2M4bxLwQ1gn4qnbHNjJXPTmkcdSvrDVnhfG+TTrUv2hdO5bTXaa3TOqKRggXPYH5SD0IPbsJga7wHczNdrtTpeHKzMXbU6hLbDnfm2wCSSdsiaji13LajBRXfVyjmQDksUdMr0x8t+pnP8YrXzC6HIs9Z9PKUc/Ep2x1z07SQtZi3Dr14jwbhJB0tNnGNaMFb9UPK01Z7MiEb+42P+oTl/EXiLVcSs8zVWl8Z5K19NVWf6E7fU5PzmDp1suArVS5rWxl5ULPy9WBI+6Nz8t5lW8IdBUzMoFgVh1GFYZXr74P6e806TOGtkovMce5wPrNzpOB8+TlivIW5lAIrs+6lhOAvTfGcTHv16q2dieUIUrUIpAPqVsH1Docn2MTLO7PTGr0jHqOQenJOTygkjLEDbcTK1Oh+zPixVLABwzufLsQ9OUYBz+PaYGp4q7cyqORCwbG3Ud8AAdMdpgM7NuSWOwycnaTlqKznll681s5NZyP9PJn6CYuJUGXzDaMQDLZjEAJdGIIIJBBBBGxB9xK4kiB9k8B+JvttQqtbl1VWPV0Ldg4+vQj3+on0DSX8432YbMPY/tPzPwzX2aa1Lqjyuhz8iO6n3BG0+6eG+NLq6U1FeebGGQ9SB8Sn5j3+h7wzLq4lKrAwDDcGXgJEmJREiWkQKxJiBWTEQLxEQEREBERAgzyvqWxWRhlWBBHyM9ZED5l4j4Cr12FB/GoZgw7vXk4b95x9fLWHSxFvRgp5GLBebbldWHfJZfwM+x8b0hVhegyRs47MvcH/ntPnfifhnlMr0qzV2EmoqcMObZqye3X5dc+8zLyzXZZpF11FblW5q6LB/GRMVctwXHpRCSVHT1e+ZrdbxlWRFrqCunMps2XnrzsCg6Hoepmq1NfI3uDuD7ieeZXpisTy9LdTYwILsVJBK5wpPuR0zPIoB8W3yHX/aeigrg7ZPTvj8JYac9Tj35SdyIbY7H2GP1P5yFQtnc5G+PcTMNagqRnkbIPtn2MWDlGdsjcNker5ADtAwVXmyD1AJBnniZjNsxVcA4yfb3xMfECgkgz1rrDEAnGe5nQabw41e96MM/DkqQcddgdiNtjDnqalaRmXPVVsxwoJPymwr4Ncdyp5fTk5GACcAk/86Td0soGK1AHYnYfhMlUZwFJyCcgbAcx2mcvDfz9s9NRoOFrkGzcKcsq7kqO3NnbPTIzidx4e4glNqhV8ik4BAZnwezHP13+UxK9OdKjOqK9xypDElBWTjPKME+oYP4dczWafilpt8nUsiD7gCqqVntjlGw/51kmcLP19am6nExzh9h0t3Kc/dPxDqFb3HyM2QnD+GOKZ/gWfEBhM/eX+n9p1ujt6LnIxlD7j2m4l6PH141a5j5LLiIh3IkyJREiWkQIkS0iBaIiAiIgTIkxAiQZMGBRlDAqdwdpx3GOHBefT2fybd62O/Jb2P0PT/3OyMxOKaIX1lSNxuJGL13Rh8K47wlkZ0YBSrY3cE8/XoTnBGd8Y6e85pRhgDtuM5n1vjugNqM2P/kUKy2Aj+ZSRjJHfH9vlPmvFtCVHPjfbOMkEdjnAzjoT7iRjSv9s/Pn7YyPhmR9gxO/se0h7uh++pxnsRPIX5GGAbHQ9CBPRbK+1ZP1baV6EG5iTy7A/dXOIWoDdjj5DqZD3HsAnyE8uu/5+8C9ludhsvsJ58s9AoH7ZB2kZxkH8DA8p1fBOJtcnJYzNYgwCzFiV7dZyx+UydCXR1ddiD32BHcQ462lGpTDqnp5TkdD+hlwJnstXIFZh5rVq4GSGJO5BTG2B8+omGlZBx+R9xMTD5/yNO1J5WruZWDdSBghtwynYqfliZGs4U2t8taWUbMUL5JAXcrkD4hn8QQZCUZm78ON5dmB33H3cOBsQexwSPxjDp4Pk2pqY9JKPD12mqUtYbLFyy+nlPINyAc7kdfp+E6nhWu82sE7Wd/9Y+8PrFuoSwlKKzc2fUwBIA75czK4VwY1epzv15RuB9TNQ/RjTn6++nU9+zcKZaVlhNPeREQEiTECJEmICIiAkxEBERASJMSCpkS0gyjQ+INEVI1FY9S/EOzDuD8iP7T5x4o4Yq4evPkWhjUMZ5X71n2GcjHzz2M+xsoIKncHacbxnhoUvQ/8i74G7V29j/aSYcdSv3Q+IaqjkPup3UzyXO47/tOp41w4qzV3MFbn5d1ACn7rddwd9gOgnNDSWc5rCMzgkEIC52+nUQ6ad90ZVqJ3wO2+2cftIJ3z0+WJl/8ATbB/NIq/yuSX/BBv+eJl1aNKz8HmsMZ8zI5Seh5B2zgZJ7iG8tZRW755FLEDcqucD3PtPWrRMfwwDjB3JwPlNwH5yFYO1XqXlChVQY3KquFBG5mZRwtmbksf0nmwM+kvjr7YI9s9JMsTqQ06aAAA9Qc+oZ+IfEuSMZGQe/WZuh05dwETmboBnZsjDBjgnf5dCZ0lHDUrWt0XlyGQ4BQcy9d+v5Y6T30PAbbX/h1s4B2wMKPqTsIcL3nPDR08PCkEEls4BG+D1B/QibfTadmI6kn2nZ8P8IYwbWCD+irc/ix+s6HRcMpo/l1qD/Ud2/MyuV/GnU74cfw7wza+CRyD3fb9Os6LReHKa/jza3z9K/lN1iTiHTT8TTp6ZVrrCjCgKo6BQAJbEmTK9SIkxAREQIiTIgIiIEREQJiIgIiICIiAkSYkFTMTieiF9ZU9cHEzCJEo+Z8c0BsRucE20ghwCV82noc4/WcY7vzstIsDYwoBFZNWejHPq2x3n2Tj/DycX1fzF6jswPUH5ThdXowtisVCEEnlXOMHrsT7bfhMzDz42W/DlhpRYykB60cA2chRAxJweVdyACO/95t+G8DWosGQHkYc5I9T1vsAd8bfltN3pOA23k+XSeTJKtZ/DUA+2f7TpNL4TyebUWlycZWr0g492O5/SIhZm1unDJofUUUY3AAT1MSpx2+XtOh4b4VvfkZlFAHLhrN327hf3xO30XD6qBiqtU+YHqP1Y7mZOJcNRp+8tJoPDVFWC4NzZzmz4cnr6f3zNyiADAAAHQAYAl8SZXSKxHSAJIEmIVEmIgIiICIiAiIgIiIEREQIiIgTERAREQEREBERARiIgQVExxoag3MK05vflBMyYgVxJxJkwIxEmICIiAiIgIiICIiAiIgIiICIiAiIgViIgJMRAREQEREBERAmIiAiIgIiICIiAiIgIiICIiAiIgIiICIiAiIgIkSYFYiIExEQEREBERAREQJiIgIiICIiAiIgIiICIiAiIgIiICIiAiIgIiICIiB//9k="/>
          <p:cNvSpPr>
            <a:spLocks noChangeAspect="1" noChangeArrowheads="1"/>
          </p:cNvSpPr>
          <p:nvPr/>
        </p:nvSpPr>
        <p:spPr bwMode="auto">
          <a:xfrm>
            <a:off x="230981" y="595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200" dirty="0"/>
          </a:p>
        </p:txBody>
      </p:sp>
      <p:sp>
        <p:nvSpPr>
          <p:cNvPr id="5" name="TextBox 90"/>
          <p:cNvSpPr txBox="1">
            <a:spLocks noChangeArrowheads="1"/>
          </p:cNvSpPr>
          <p:nvPr/>
        </p:nvSpPr>
        <p:spPr bwMode="auto">
          <a:xfrm>
            <a:off x="116121" y="49776"/>
            <a:ext cx="3732668" cy="4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sz="2400" b="1" u="sng" dirty="0">
                <a:solidFill>
                  <a:srgbClr val="0071C5"/>
                </a:solidFill>
                <a:latin typeface="+mn-lt"/>
              </a:rPr>
              <a:t>Intel® IoT Developer Kit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44210" y="497311"/>
            <a:ext cx="3788812" cy="840284"/>
            <a:chOff x="181962" y="802789"/>
            <a:chExt cx="4942795" cy="1120378"/>
          </a:xfrm>
        </p:grpSpPr>
        <p:sp>
          <p:nvSpPr>
            <p:cNvPr id="7" name="오각형 26"/>
            <p:cNvSpPr/>
            <p:nvPr/>
          </p:nvSpPr>
          <p:spPr>
            <a:xfrm rot="5400000">
              <a:off x="2093170" y="-1108419"/>
              <a:ext cx="1120378" cy="4942793"/>
            </a:xfrm>
            <a:prstGeom prst="homePlate">
              <a:avLst>
                <a:gd name="adj" fmla="val 20824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108000" rIns="36000" anchor="ctr"/>
            <a:lstStyle/>
            <a:p>
              <a:pPr>
                <a:defRPr/>
              </a:pPr>
              <a:endParaRPr lang="ko-KR" altLang="en-US" sz="1200" b="1" dirty="0">
                <a:solidFill>
                  <a:prstClr val="black"/>
                </a:solidFill>
                <a:cs typeface="Calibri" pitchFamily="34" charset="0"/>
              </a:endParaRPr>
            </a:p>
          </p:txBody>
        </p:sp>
        <p:sp>
          <p:nvSpPr>
            <p:cNvPr id="8" name="TextBox 5"/>
            <p:cNvSpPr txBox="1">
              <a:spLocks noChangeArrowheads="1"/>
            </p:cNvSpPr>
            <p:nvPr/>
          </p:nvSpPr>
          <p:spPr bwMode="auto">
            <a:xfrm>
              <a:off x="201549" y="828541"/>
              <a:ext cx="4923208" cy="9848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9pPr>
            </a:lstStyle>
            <a:p>
              <a:pPr algn="ctr"/>
              <a:r>
                <a:rPr lang="en-US" b="1" dirty="0">
                  <a:latin typeface="+mn-lt"/>
                </a:rPr>
                <a:t>A </a:t>
              </a:r>
              <a:r>
                <a:rPr lang="en-US" sz="1200" b="1" dirty="0">
                  <a:latin typeface="+mn-lt"/>
                </a:rPr>
                <a:t>complete solution for creating IoT </a:t>
              </a:r>
              <a:r>
                <a:rPr lang="en-US" sz="1200" b="1" dirty="0" smtClean="0">
                  <a:latin typeface="+mn-lt"/>
                </a:rPr>
                <a:t>applications </a:t>
              </a:r>
              <a:r>
                <a:rPr lang="en-US" sz="1200" b="1" dirty="0">
                  <a:latin typeface="+mn-lt"/>
                </a:rPr>
                <a:t>targeted for Intel® IoT platforms such as Intel® Galileo board  and Intel® Edison board. 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95508" y="4042212"/>
            <a:ext cx="3789385" cy="636321"/>
            <a:chOff x="155575" y="2015512"/>
            <a:chExt cx="5003278" cy="726219"/>
          </a:xfrm>
        </p:grpSpPr>
        <p:sp>
          <p:nvSpPr>
            <p:cNvPr id="10" name="Rectangle 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 flipH="1">
              <a:off x="155575" y="2015512"/>
              <a:ext cx="5003278" cy="709036"/>
            </a:xfrm>
            <a:prstGeom prst="rect">
              <a:avLst/>
            </a:prstGeom>
            <a:ln/>
            <a:ex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endParaRPr lang="ko-KR" altLang="en-US" sz="900"/>
            </a:p>
          </p:txBody>
        </p:sp>
        <p:sp>
          <p:nvSpPr>
            <p:cNvPr id="11" name="TextBox 5"/>
            <p:cNvSpPr txBox="1">
              <a:spLocks noChangeArrowheads="1"/>
            </p:cNvSpPr>
            <p:nvPr/>
          </p:nvSpPr>
          <p:spPr bwMode="auto">
            <a:xfrm>
              <a:off x="185817" y="2056777"/>
              <a:ext cx="4942791" cy="6849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9pPr>
            </a:lstStyle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+mn-lt"/>
                </a:rPr>
                <a:t>Full x86 support </a:t>
              </a:r>
              <a:r>
                <a:rPr lang="en-US" sz="900" dirty="0">
                  <a:latin typeface="+mn-lt"/>
                </a:rPr>
                <a:t>(Scale from Intel® </a:t>
              </a:r>
              <a:r>
                <a:rPr lang="en-US" sz="900" dirty="0" smtClean="0">
                  <a:latin typeface="+mn-lt"/>
                </a:rPr>
                <a:t>Quark™ SoC </a:t>
              </a:r>
              <a:r>
                <a:rPr lang="en-US" sz="900" dirty="0">
                  <a:latin typeface="+mn-lt"/>
                </a:rPr>
                <a:t>to Intel® </a:t>
              </a:r>
              <a:r>
                <a:rPr lang="en-US" sz="900" dirty="0" smtClean="0">
                  <a:latin typeface="+mn-lt"/>
                </a:rPr>
                <a:t>Core™ processor)</a:t>
              </a:r>
              <a:endParaRPr lang="en-US" sz="900" dirty="0">
                <a:latin typeface="+mn-lt"/>
              </a:endParaRP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+mn-lt"/>
                </a:rPr>
                <a:t>Intel</a:t>
              </a:r>
              <a:r>
                <a:rPr lang="en-US" sz="1200" dirty="0" smtClean="0">
                  <a:latin typeface="+mn-lt"/>
                </a:rPr>
                <a:t>® Galileo </a:t>
              </a:r>
              <a:r>
                <a:rPr lang="en-US" sz="1200" dirty="0">
                  <a:latin typeface="+mn-lt"/>
                </a:rPr>
                <a:t>(Gen1/ Gen 2), Intel</a:t>
              </a:r>
              <a:r>
                <a:rPr lang="en-US" sz="1200" dirty="0" smtClean="0">
                  <a:latin typeface="+mn-lt"/>
                </a:rPr>
                <a:t>® Edison</a:t>
              </a:r>
              <a:endParaRPr lang="en-US" sz="1100" dirty="0">
                <a:latin typeface="+mn-lt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97413" y="3379429"/>
            <a:ext cx="3892546" cy="531777"/>
            <a:chOff x="277731" y="4613757"/>
            <a:chExt cx="5190060" cy="709035"/>
          </a:xfrm>
        </p:grpSpPr>
        <p:sp>
          <p:nvSpPr>
            <p:cNvPr id="13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 flipH="1">
              <a:off x="277731" y="4613757"/>
              <a:ext cx="5003278" cy="709035"/>
            </a:xfrm>
            <a:prstGeom prst="rect">
              <a:avLst/>
            </a:prstGeom>
            <a:ln/>
            <a:ex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endParaRPr lang="ko-KR" altLang="en-US" sz="900"/>
            </a:p>
          </p:txBody>
        </p:sp>
        <p:sp>
          <p:nvSpPr>
            <p:cNvPr id="14" name="TextBox 5"/>
            <p:cNvSpPr txBox="1">
              <a:spLocks noChangeArrowheads="1"/>
            </p:cNvSpPr>
            <p:nvPr/>
          </p:nvSpPr>
          <p:spPr bwMode="auto">
            <a:xfrm>
              <a:off x="307974" y="4651616"/>
              <a:ext cx="5159817" cy="6155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9pPr>
            </a:lstStyle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 smtClean="0">
                  <a:latin typeface="+mn-lt"/>
                </a:rPr>
                <a:t>Open &amp; Standard - Yocto Project Poky Linux* OS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 smtClean="0">
                  <a:latin typeface="+mn-lt"/>
                </a:rPr>
                <a:t>Supports </a:t>
              </a:r>
              <a:r>
                <a:rPr lang="en-US" sz="1200" dirty="0">
                  <a:latin typeface="+mn-lt"/>
                </a:rPr>
                <a:t>full range of Linux tools and libraries</a:t>
              </a:r>
            </a:p>
          </p:txBody>
        </p:sp>
      </p:grpSp>
      <p:sp>
        <p:nvSpPr>
          <p:cNvPr id="15" name="Rectangle 14"/>
          <p:cNvSpPr/>
          <p:nvPr/>
        </p:nvSpPr>
        <p:spPr>
          <a:xfrm>
            <a:off x="4136974" y="923033"/>
            <a:ext cx="4853301" cy="91125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6" name="Rectangle 15"/>
          <p:cNvSpPr/>
          <p:nvPr/>
        </p:nvSpPr>
        <p:spPr>
          <a:xfrm>
            <a:off x="4136974" y="3714119"/>
            <a:ext cx="4853301" cy="104743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136974" y="1869592"/>
            <a:ext cx="4853301" cy="181940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8" name="Rectangle 17"/>
          <p:cNvSpPr/>
          <p:nvPr/>
        </p:nvSpPr>
        <p:spPr>
          <a:xfrm>
            <a:off x="6233352" y="3749467"/>
            <a:ext cx="1049700" cy="93582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9" name="Rectangle 18"/>
          <p:cNvSpPr/>
          <p:nvPr/>
        </p:nvSpPr>
        <p:spPr>
          <a:xfrm>
            <a:off x="4498941" y="3749467"/>
            <a:ext cx="1733316" cy="93582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0" name="TextBox 19"/>
          <p:cNvSpPr txBox="1"/>
          <p:nvPr/>
        </p:nvSpPr>
        <p:spPr>
          <a:xfrm>
            <a:off x="4501984" y="4342966"/>
            <a:ext cx="9191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/>
              <a:t>Intel</a:t>
            </a:r>
            <a:r>
              <a:rPr lang="en-US" sz="900" b="1" dirty="0" smtClean="0"/>
              <a:t>® Galileo </a:t>
            </a:r>
            <a:endParaRPr lang="en-US" sz="900" b="1" dirty="0"/>
          </a:p>
          <a:p>
            <a:pPr algn="ctr"/>
            <a:r>
              <a:rPr lang="en-US" sz="900" b="1" dirty="0"/>
              <a:t>Gen 1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318883" y="4347780"/>
            <a:ext cx="9341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/>
              <a:t>Intel</a:t>
            </a:r>
            <a:r>
              <a:rPr lang="en-US" sz="900" b="1" dirty="0" smtClean="0"/>
              <a:t>® Galileo Gen </a:t>
            </a:r>
            <a:r>
              <a:rPr lang="en-US" sz="900" b="1" dirty="0"/>
              <a:t>2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286214" y="4369119"/>
            <a:ext cx="9439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/>
              <a:t>Intel</a:t>
            </a:r>
            <a:r>
              <a:rPr lang="en-US" sz="900" b="1" dirty="0" smtClean="0"/>
              <a:t>® Edison</a:t>
            </a:r>
            <a:endParaRPr lang="en-US" sz="900" b="1" dirty="0"/>
          </a:p>
        </p:txBody>
      </p:sp>
      <p:sp>
        <p:nvSpPr>
          <p:cNvPr id="23" name="TextBox 9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4498940" y="3385627"/>
            <a:ext cx="4347286" cy="27748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360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100" dirty="0"/>
              <a:t>Yocto Project Poky Linux* </a:t>
            </a:r>
            <a:r>
              <a:rPr lang="en-US" sz="1100" dirty="0" smtClean="0"/>
              <a:t> OS </a:t>
            </a:r>
            <a:r>
              <a:rPr lang="en-US" sz="1100" dirty="0"/>
              <a:t>image (packages, drivers, tools, etc.)</a:t>
            </a:r>
          </a:p>
        </p:txBody>
      </p:sp>
      <p:sp>
        <p:nvSpPr>
          <p:cNvPr id="24" name="TextBox 9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4498939" y="3054278"/>
            <a:ext cx="4347286" cy="27748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360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100" dirty="0"/>
              <a:t>API Bindings C/C++, Node JS, Python</a:t>
            </a:r>
          </a:p>
        </p:txBody>
      </p:sp>
      <p:sp>
        <p:nvSpPr>
          <p:cNvPr id="25" name="TextBox 9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5972834" y="2738536"/>
            <a:ext cx="2873390" cy="277482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360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900" dirty="0"/>
              <a:t>UPM (Sensor/Actuator library repository)</a:t>
            </a:r>
          </a:p>
        </p:txBody>
      </p:sp>
      <p:sp>
        <p:nvSpPr>
          <p:cNvPr id="26" name="TextBox 9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499355" y="2763963"/>
            <a:ext cx="1390660" cy="30445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360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100" dirty="0" smtClean="0"/>
              <a:t>Libmraa</a:t>
            </a:r>
            <a:endParaRPr lang="en-US" sz="900" dirty="0"/>
          </a:p>
        </p:txBody>
      </p:sp>
      <p:sp>
        <p:nvSpPr>
          <p:cNvPr id="27" name="Rounded Rectangle 26"/>
          <p:cNvSpPr/>
          <p:nvPr/>
        </p:nvSpPr>
        <p:spPr>
          <a:xfrm>
            <a:off x="4485509" y="1929880"/>
            <a:ext cx="1034191" cy="73350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Node JS Support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5594350" y="1929880"/>
            <a:ext cx="1034191" cy="73350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/C++ </a:t>
            </a:r>
          </a:p>
          <a:p>
            <a:pPr algn="ctr"/>
            <a:r>
              <a:rPr lang="en-US" sz="900" dirty="0">
                <a:solidFill>
                  <a:schemeClr val="tx1"/>
                </a:solidFill>
              </a:rPr>
              <a:t>Tool Chain 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6703191" y="1929880"/>
            <a:ext cx="1034191" cy="733504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</a:rPr>
              <a:t>Wyliodrin* </a:t>
            </a:r>
            <a:endParaRPr lang="en-US" sz="900" dirty="0">
              <a:solidFill>
                <a:schemeClr val="tx1"/>
              </a:solidFill>
            </a:endParaRPr>
          </a:p>
          <a:p>
            <a:pPr algn="ctr"/>
            <a:r>
              <a:rPr lang="en-US" sz="900" dirty="0">
                <a:solidFill>
                  <a:schemeClr val="tx1"/>
                </a:solidFill>
              </a:rPr>
              <a:t>Agent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7812033" y="1929880"/>
            <a:ext cx="1034191" cy="733504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oT Cloud          Agent</a:t>
            </a:r>
          </a:p>
        </p:txBody>
      </p:sp>
      <p:sp>
        <p:nvSpPr>
          <p:cNvPr id="31" name="TextBox 30"/>
          <p:cNvSpPr txBox="1"/>
          <p:nvPr/>
        </p:nvSpPr>
        <p:spPr>
          <a:xfrm rot="16200000">
            <a:off x="3828151" y="4119274"/>
            <a:ext cx="1025207" cy="239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/>
              <a:t>Hard Ware</a:t>
            </a:r>
          </a:p>
        </p:txBody>
      </p:sp>
      <p:sp>
        <p:nvSpPr>
          <p:cNvPr id="32" name="TextBox 31"/>
          <p:cNvSpPr txBox="1"/>
          <p:nvPr/>
        </p:nvSpPr>
        <p:spPr>
          <a:xfrm rot="16200000">
            <a:off x="3318323" y="2652291"/>
            <a:ext cx="1904047" cy="239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/>
              <a:t>S/W Image on IoT platform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6324143" y="1005910"/>
            <a:ext cx="758070" cy="733504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ntel</a:t>
            </a:r>
            <a:r>
              <a:rPr lang="en-US" sz="900" dirty="0" smtClean="0">
                <a:solidFill>
                  <a:schemeClr val="tx1"/>
                </a:solidFill>
              </a:rPr>
              <a:t>® XDK </a:t>
            </a:r>
            <a:r>
              <a:rPr lang="en-US" sz="900" dirty="0">
                <a:solidFill>
                  <a:schemeClr val="tx1"/>
                </a:solidFill>
              </a:rPr>
              <a:t>IoT Edition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7204181" y="1005910"/>
            <a:ext cx="783249" cy="733504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</a:rPr>
              <a:t>Eclipse* </a:t>
            </a:r>
          </a:p>
          <a:p>
            <a:pPr algn="ctr"/>
            <a:r>
              <a:rPr lang="en-US" sz="900" dirty="0" smtClean="0">
                <a:solidFill>
                  <a:schemeClr val="tx1"/>
                </a:solidFill>
              </a:rPr>
              <a:t>+ </a:t>
            </a:r>
            <a:endParaRPr lang="en-US" sz="900" dirty="0">
              <a:solidFill>
                <a:schemeClr val="tx1"/>
              </a:solidFill>
            </a:endParaRPr>
          </a:p>
          <a:p>
            <a:pPr algn="ctr"/>
            <a:r>
              <a:rPr lang="en-US" sz="900" dirty="0">
                <a:solidFill>
                  <a:schemeClr val="tx1"/>
                </a:solidFill>
              </a:rPr>
              <a:t>ISS </a:t>
            </a:r>
            <a:r>
              <a:rPr lang="en-US" sz="900" dirty="0" smtClean="0">
                <a:solidFill>
                  <a:schemeClr val="tx1"/>
                </a:solidFill>
              </a:rPr>
              <a:t>(</a:t>
            </a:r>
            <a:r>
              <a:rPr lang="en-US" sz="900" dirty="0">
                <a:solidFill>
                  <a:schemeClr val="tx1"/>
                </a:solidFill>
              </a:rPr>
              <a:t>o</a:t>
            </a:r>
            <a:r>
              <a:rPr lang="en-US" sz="900" dirty="0" smtClean="0">
                <a:solidFill>
                  <a:schemeClr val="tx1"/>
                </a:solidFill>
              </a:rPr>
              <a:t>ptional)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4513709" y="1005910"/>
            <a:ext cx="833138" cy="733504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</a:rPr>
              <a:t>Wyliodrin*  </a:t>
            </a:r>
            <a:r>
              <a:rPr lang="en-US" sz="800" dirty="0">
                <a:solidFill>
                  <a:schemeClr val="tx1"/>
                </a:solidFill>
              </a:rPr>
              <a:t>(Visual Programming)</a:t>
            </a:r>
          </a:p>
        </p:txBody>
      </p:sp>
      <p:sp>
        <p:nvSpPr>
          <p:cNvPr id="36" name="Rounded Rectangle 35"/>
          <p:cNvSpPr/>
          <p:nvPr/>
        </p:nvSpPr>
        <p:spPr>
          <a:xfrm>
            <a:off x="8109398" y="1005910"/>
            <a:ext cx="783249" cy="733504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loud Analytics / Mashery</a:t>
            </a:r>
          </a:p>
        </p:txBody>
      </p:sp>
      <p:sp>
        <p:nvSpPr>
          <p:cNvPr id="37" name="TextBox 36"/>
          <p:cNvSpPr txBox="1"/>
          <p:nvPr/>
        </p:nvSpPr>
        <p:spPr>
          <a:xfrm rot="16200000">
            <a:off x="3761173" y="1208892"/>
            <a:ext cx="1095232" cy="3668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/>
              <a:t>IDE/ Tools </a:t>
            </a:r>
          </a:p>
          <a:p>
            <a:pPr algn="ctr"/>
            <a:r>
              <a:rPr lang="en-US" sz="800" b="1" dirty="0"/>
              <a:t>(Win, Mac, Linux)</a:t>
            </a:r>
            <a:endParaRPr lang="en-US" sz="900" b="1" dirty="0"/>
          </a:p>
        </p:txBody>
      </p:sp>
      <p:sp>
        <p:nvSpPr>
          <p:cNvPr id="38" name="Rectangle 37"/>
          <p:cNvSpPr/>
          <p:nvPr/>
        </p:nvSpPr>
        <p:spPr>
          <a:xfrm>
            <a:off x="7358272" y="3737798"/>
            <a:ext cx="1482085" cy="93582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pic>
        <p:nvPicPr>
          <p:cNvPr id="39" name="Picture 6" descr="http://photos3.meetupstatic.com/photos/event/7/e/7/4/600_378752372.jpe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6206" y="3811420"/>
            <a:ext cx="1318587" cy="631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Box 39"/>
          <p:cNvSpPr txBox="1"/>
          <p:nvPr/>
        </p:nvSpPr>
        <p:spPr>
          <a:xfrm>
            <a:off x="7435133" y="4474637"/>
            <a:ext cx="1355813" cy="232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/>
              <a:t>Sensors / Actuators</a:t>
            </a:r>
          </a:p>
        </p:txBody>
      </p:sp>
      <p:sp>
        <p:nvSpPr>
          <p:cNvPr id="41" name="Rectangle 40"/>
          <p:cNvSpPr/>
          <p:nvPr/>
        </p:nvSpPr>
        <p:spPr>
          <a:xfrm>
            <a:off x="4142124" y="168294"/>
            <a:ext cx="4853301" cy="72655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pic>
        <p:nvPicPr>
          <p:cNvPr id="42" name="Picture 20" descr="http://www.upenn.edu/pennnews/sites/default/files/imagecache/tiny_thumb/news/images/hires/Galileo%20on%20Boe-Bot%2010-3-13%5b2%5d.jpe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5786" y="217463"/>
            <a:ext cx="781157" cy="666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4" descr="http://blogs.intel.com/freepress/files/2014/06/lit-planter-with-galileo-boards-article-1024x768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3152" y="219189"/>
            <a:ext cx="843271" cy="685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6" descr="https://communities.intel.com/servlet/JiveServlet/showImage/2-215507-234396/16Volts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7420" y="219189"/>
            <a:ext cx="1635661" cy="664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Box 44"/>
          <p:cNvSpPr txBox="1"/>
          <p:nvPr/>
        </p:nvSpPr>
        <p:spPr>
          <a:xfrm rot="16200000">
            <a:off x="3941104" y="354442"/>
            <a:ext cx="718300" cy="3827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/>
              <a:t>IoT Projects</a:t>
            </a:r>
          </a:p>
        </p:txBody>
      </p:sp>
      <p:pic>
        <p:nvPicPr>
          <p:cNvPr id="46" name="Picture 28" descr="http://www.intel.co.za/content/dam/www/public/emea/za/en/images/spotlight-on-local-innovation-img-1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6175" y="217462"/>
            <a:ext cx="771387" cy="666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Rounded Rectangle 46"/>
          <p:cNvSpPr/>
          <p:nvPr/>
        </p:nvSpPr>
        <p:spPr>
          <a:xfrm>
            <a:off x="5468815" y="1005910"/>
            <a:ext cx="733360" cy="733504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</a:rPr>
              <a:t>Arduino* </a:t>
            </a:r>
            <a:r>
              <a:rPr lang="en-US" sz="900" dirty="0">
                <a:solidFill>
                  <a:schemeClr val="tx1"/>
                </a:solidFill>
              </a:rPr>
              <a:t>IDE</a:t>
            </a:r>
          </a:p>
        </p:txBody>
      </p:sp>
      <p:grpSp>
        <p:nvGrpSpPr>
          <p:cNvPr id="48" name="Group 47"/>
          <p:cNvGrpSpPr/>
          <p:nvPr/>
        </p:nvGrpSpPr>
        <p:grpSpPr>
          <a:xfrm>
            <a:off x="185699" y="2778929"/>
            <a:ext cx="3752459" cy="531777"/>
            <a:chOff x="155575" y="2015512"/>
            <a:chExt cx="5003278" cy="709036"/>
          </a:xfrm>
        </p:grpSpPr>
        <p:sp>
          <p:nvSpPr>
            <p:cNvPr id="49" name="Rectangle 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 flipH="1">
              <a:off x="155575" y="2015512"/>
              <a:ext cx="5003278" cy="709036"/>
            </a:xfrm>
            <a:prstGeom prst="rect">
              <a:avLst/>
            </a:prstGeom>
            <a:ln/>
            <a:ex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endParaRPr lang="ko-KR" altLang="en-US" sz="900"/>
            </a:p>
          </p:txBody>
        </p:sp>
        <p:sp>
          <p:nvSpPr>
            <p:cNvPr id="50" name="TextBox 5"/>
            <p:cNvSpPr txBox="1">
              <a:spLocks noChangeArrowheads="1"/>
            </p:cNvSpPr>
            <p:nvPr/>
          </p:nvSpPr>
          <p:spPr bwMode="auto">
            <a:xfrm>
              <a:off x="185818" y="2056779"/>
              <a:ext cx="4973035" cy="615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9pPr>
            </a:lstStyle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+mn-lt"/>
                </a:rPr>
                <a:t>APIs that shields </a:t>
              </a:r>
              <a:r>
                <a:rPr lang="en-US" sz="1200" dirty="0" smtClean="0">
                  <a:latin typeface="+mn-lt"/>
                </a:rPr>
                <a:t>H/W </a:t>
              </a:r>
              <a:r>
                <a:rPr lang="en-US" sz="1200" dirty="0">
                  <a:latin typeface="+mn-lt"/>
                </a:rPr>
                <a:t>complexity </a:t>
              </a:r>
              <a:r>
                <a:rPr lang="en-US" sz="1200" dirty="0" smtClean="0">
                  <a:latin typeface="+mn-lt"/>
                </a:rPr>
                <a:t>(libmraa) </a:t>
              </a:r>
              <a:endParaRPr lang="en-US" sz="1200" dirty="0">
                <a:latin typeface="+mn-lt"/>
              </a:endParaRP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+mn-lt"/>
                </a:rPr>
                <a:t>Sensor libraries with API bindings (UPM)</a:t>
              </a: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173871" y="2100176"/>
            <a:ext cx="3752459" cy="609670"/>
            <a:chOff x="277731" y="4664557"/>
            <a:chExt cx="5003278" cy="709036"/>
          </a:xfrm>
        </p:grpSpPr>
        <p:sp>
          <p:nvSpPr>
            <p:cNvPr id="52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 flipH="1">
              <a:off x="277731" y="4664557"/>
              <a:ext cx="5003278" cy="709036"/>
            </a:xfrm>
            <a:prstGeom prst="rect">
              <a:avLst/>
            </a:prstGeom>
            <a:ln/>
            <a:ex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endParaRPr lang="ko-KR" altLang="en-US" sz="900"/>
            </a:p>
          </p:txBody>
        </p:sp>
        <p:sp>
          <p:nvSpPr>
            <p:cNvPr id="53" name="TextBox 5"/>
            <p:cNvSpPr txBox="1">
              <a:spLocks noChangeArrowheads="1"/>
            </p:cNvSpPr>
            <p:nvPr/>
          </p:nvSpPr>
          <p:spPr bwMode="auto">
            <a:xfrm>
              <a:off x="307975" y="4727813"/>
              <a:ext cx="4942791" cy="501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9pPr>
            </a:lstStyle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100" dirty="0">
                  <a:latin typeface="+mn-lt"/>
                </a:rPr>
                <a:t>Multiple Programming Languages (JavaScript, C/C++, </a:t>
              </a:r>
              <a:r>
                <a:rPr lang="en-US" sz="1100" dirty="0" smtClean="0">
                  <a:latin typeface="+mn-lt"/>
                </a:rPr>
                <a:t>Arduino* </a:t>
              </a:r>
              <a:r>
                <a:rPr lang="en-US" sz="1100" dirty="0">
                  <a:latin typeface="+mn-lt"/>
                </a:rPr>
                <a:t>Sketches, Visual programming)</a:t>
              </a:r>
            </a:p>
          </p:txBody>
        </p:sp>
      </p:grpSp>
      <p:sp>
        <p:nvSpPr>
          <p:cNvPr id="54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flipH="1">
            <a:off x="172931" y="1356909"/>
            <a:ext cx="3752459" cy="657723"/>
          </a:xfrm>
          <a:prstGeom prst="rect">
            <a:avLst/>
          </a:prstGeom>
          <a:ln/>
          <a:ex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endParaRPr lang="ko-KR" altLang="en-US" sz="900"/>
          </a:p>
        </p:txBody>
      </p:sp>
      <p:sp>
        <p:nvSpPr>
          <p:cNvPr id="55" name="TextBox 5"/>
          <p:cNvSpPr txBox="1">
            <a:spLocks noChangeArrowheads="1"/>
          </p:cNvSpPr>
          <p:nvPr/>
        </p:nvSpPr>
        <p:spPr bwMode="auto">
          <a:xfrm>
            <a:off x="195508" y="1333500"/>
            <a:ext cx="3729777" cy="815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100" dirty="0">
                <a:latin typeface="+mn-lt"/>
              </a:rPr>
              <a:t>Multiple IDEs (XDK, Eclipse, </a:t>
            </a:r>
            <a:r>
              <a:rPr lang="en-US" sz="1100" dirty="0" smtClean="0">
                <a:latin typeface="+mn-lt"/>
              </a:rPr>
              <a:t>Wyliodrin*, Arduino*)</a:t>
            </a:r>
            <a:endParaRPr lang="en-US" sz="1100" dirty="0">
              <a:latin typeface="+mn-lt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Cloud analytics &amp; data management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Mashery IoT Restful APIs</a:t>
            </a:r>
          </a:p>
          <a:p>
            <a:pPr algn="ctr"/>
            <a:endParaRPr lang="en-US" sz="1200" b="1" dirty="0">
              <a:latin typeface="+mn-lt"/>
            </a:endParaRPr>
          </a:p>
        </p:txBody>
      </p:sp>
      <p:cxnSp>
        <p:nvCxnSpPr>
          <p:cNvPr id="56" name="Elbow Connector 55"/>
          <p:cNvCxnSpPr/>
          <p:nvPr/>
        </p:nvCxnSpPr>
        <p:spPr>
          <a:xfrm rot="16200000" flipH="1">
            <a:off x="5213816" y="2884023"/>
            <a:ext cx="200516" cy="355570"/>
          </a:xfrm>
          <a:prstGeom prst="bentConnector2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7" name="Picture 56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530220" y="3831094"/>
            <a:ext cx="726792" cy="486751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365599" y="3845193"/>
            <a:ext cx="805894" cy="501341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358595" y="3866247"/>
            <a:ext cx="856967" cy="52176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</p:pic>
      <p:sp>
        <p:nvSpPr>
          <p:cNvPr id="60" name="Shape 402"/>
          <p:cNvSpPr/>
          <p:nvPr/>
        </p:nvSpPr>
        <p:spPr>
          <a:xfrm>
            <a:off x="2187377" y="4975671"/>
            <a:ext cx="5412477" cy="215403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800" b="0" i="0" u="none" strike="noStrike" cap="none" baseline="0" dirty="0" smtClean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* Names </a:t>
            </a:r>
            <a:r>
              <a:rPr lang="en-US" sz="800" b="0" i="0" u="none" strike="noStrike" cap="none" baseline="0" dirty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and brands may be claimed by the property of </a:t>
            </a:r>
            <a:r>
              <a:rPr lang="en-US" sz="800" b="0" i="0" u="none" strike="noStrike" cap="none" baseline="0" dirty="0" smtClean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third </a:t>
            </a:r>
            <a:r>
              <a:rPr lang="en-US" sz="800" b="0" i="0" u="none" strike="noStrike" cap="none" baseline="0" dirty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party name and the notation</a:t>
            </a:r>
            <a:r>
              <a:rPr lang="en-US" sz="800" b="0" i="0" u="none" strike="noStrike" cap="none" baseline="0" dirty="0" smtClean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.</a:t>
            </a:r>
            <a:endParaRPr lang="en-US" sz="800" b="0" i="0" u="none" strike="noStrike" cap="none" baseline="0" dirty="0">
              <a:solidFill>
                <a:schemeClr val="bg1">
                  <a:lumMod val="65000"/>
                </a:schemeClr>
              </a:solidFill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02888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/>
        </p:nvSpPr>
        <p:spPr>
          <a:xfrm>
            <a:off x="6776283" y="4851695"/>
            <a:ext cx="2133600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Intel Clear Light" panose="020B0404020203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E2556C5-CE8C-6547-B838-EA80C61A4AF7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quarter" idx="13"/>
          </p:nvPr>
        </p:nvSpPr>
        <p:spPr>
          <a:xfrm>
            <a:off x="391293" y="1102520"/>
            <a:ext cx="6232804" cy="1163110"/>
          </a:xfrm>
          <a:ln w="6350">
            <a:solidFill>
              <a:srgbClr val="0000CC"/>
            </a:solidFill>
            <a:prstDash val="sysDash"/>
          </a:ln>
        </p:spPr>
        <p:txBody>
          <a:bodyPr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5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raa_gpio_context gpio; </a:t>
            </a:r>
            <a:r>
              <a:rPr lang="en-US" sz="1050" dirty="0" smtClean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Pointer to </a:t>
            </a:r>
            <a:r>
              <a:rPr lang="en-US" sz="1050" dirty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PIO </a:t>
            </a:r>
            <a:r>
              <a:rPr lang="en-US" sz="1050" dirty="0" smtClean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text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5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gpio = mraa_gpio_init(8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50" dirty="0" smtClean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Create </a:t>
            </a:r>
            <a:r>
              <a:rPr lang="en-US" sz="1050" dirty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PIO context for pin </a:t>
            </a:r>
            <a:r>
              <a:rPr lang="en-US" sz="1050" dirty="0" smtClean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8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5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raa_gpio_dir(gpio, MAA_GPIO_OUT);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50" dirty="0" smtClean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Set </a:t>
            </a:r>
            <a:r>
              <a:rPr lang="en-US" sz="1050" dirty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PIO direction to </a:t>
            </a:r>
            <a:r>
              <a:rPr lang="en-US" sz="1050" dirty="0" smtClean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5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raa_gpio_write(gpio, 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); </a:t>
            </a:r>
            <a:r>
              <a:rPr lang="en-US" sz="1050" dirty="0" smtClean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Write </a:t>
            </a:r>
            <a:r>
              <a:rPr lang="en-US" sz="1050" dirty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 </a:t>
            </a:r>
            <a:r>
              <a:rPr lang="en-US" sz="1050" dirty="0" smtClean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PIO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5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raa_gpio_close(gpio); </a:t>
            </a:r>
            <a:r>
              <a:rPr lang="en-US" sz="1050" dirty="0" smtClean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Close GPIO if we are the owner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391293" y="2309661"/>
            <a:ext cx="4359786" cy="1007581"/>
            <a:chOff x="391293" y="2278131"/>
            <a:chExt cx="4359786" cy="1007581"/>
          </a:xfrm>
        </p:grpSpPr>
        <p:sp>
          <p:nvSpPr>
            <p:cNvPr id="6" name="Title 1"/>
            <p:cNvSpPr txBox="1">
              <a:spLocks/>
            </p:cNvSpPr>
            <p:nvPr/>
          </p:nvSpPr>
          <p:spPr>
            <a:xfrm>
              <a:off x="391293" y="2278131"/>
              <a:ext cx="982676" cy="1627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2800" kern="1200" baseline="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600" b="1" dirty="0" smtClean="0"/>
                <a:t>C</a:t>
              </a:r>
              <a:r>
                <a:rPr lang="en-US" sz="1600" b="1" dirty="0"/>
                <a:t>++ </a:t>
              </a:r>
              <a:r>
                <a:rPr lang="en-US" sz="1600" b="1" dirty="0" smtClean="0"/>
                <a:t> API</a:t>
              </a:r>
              <a:endParaRPr lang="en-US" sz="1600" b="1" dirty="0"/>
            </a:p>
          </p:txBody>
        </p:sp>
        <p:sp>
          <p:nvSpPr>
            <p:cNvPr id="7" name="Content Placeholder 2"/>
            <p:cNvSpPr txBox="1">
              <a:spLocks/>
            </p:cNvSpPr>
            <p:nvPr/>
          </p:nvSpPr>
          <p:spPr>
            <a:xfrm>
              <a:off x="391293" y="2566348"/>
              <a:ext cx="4359786" cy="719364"/>
            </a:xfrm>
            <a:prstGeom prst="rect">
              <a:avLst/>
            </a:prstGeom>
            <a:ln>
              <a:solidFill>
                <a:schemeClr val="accent1"/>
              </a:solidFill>
              <a:prstDash val="sysDash"/>
            </a:ln>
          </p:spPr>
          <p:txBody>
            <a:bodyPr vert="horz" lIns="0" tIns="0" rIns="0" bIns="0" rtlCol="0">
              <a:noAutofit/>
            </a:bodyPr>
            <a:lstStyle>
              <a:lvl1pPr indent="0">
                <a:spcBef>
                  <a:spcPts val="30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100" b="0">
                  <a:latin typeface="Courier New" panose="02070309020205020404" pitchFamily="49" charset="0"/>
                  <a:cs typeface="Courier New" panose="02070309020205020404" pitchFamily="49" charset="0"/>
                </a:defRPr>
              </a:lvl1pPr>
              <a:lvl2pPr marL="225425" indent="-225425">
                <a:spcBef>
                  <a:spcPts val="1200"/>
                </a:spcBef>
                <a:buFont typeface="Wingdings" charset="2"/>
                <a:buChar char="§"/>
                <a:defRPr sz="1600" baseline="0">
                  <a:solidFill>
                    <a:schemeClr val="tx2"/>
                  </a:solidFill>
                  <a:cs typeface="Intel Clear" panose="020B0604020203020204" pitchFamily="34" charset="0"/>
                </a:defRPr>
              </a:lvl2pPr>
              <a:lvl3pPr marL="571500" indent="-228600">
                <a:spcBef>
                  <a:spcPts val="800"/>
                </a:spcBef>
                <a:buFont typeface="Wingdings" charset="2"/>
                <a:buChar char="§"/>
                <a:defRPr sz="1600">
                  <a:solidFill>
                    <a:schemeClr val="tx2"/>
                  </a:solidFill>
                  <a:cs typeface="Intel Clear" panose="020B0604020203020204" pitchFamily="34" charset="0"/>
                </a:defRPr>
              </a:lvl3pPr>
              <a:lvl4pPr marL="969963" indent="-228600">
                <a:spcBef>
                  <a:spcPct val="20000"/>
                </a:spcBef>
                <a:buFont typeface="Arial"/>
                <a:buChar char="–"/>
                <a:defRPr sz="1400">
                  <a:solidFill>
                    <a:schemeClr val="tx2"/>
                  </a:solidFill>
                  <a:cs typeface="Intel Clear" panose="020B0604020203020204" pitchFamily="34" charset="0"/>
                </a:defRPr>
              </a:lvl4pPr>
              <a:lvl5pPr marL="1319213" indent="-228600">
                <a:spcBef>
                  <a:spcPct val="20000"/>
                </a:spcBef>
                <a:buFont typeface="Intel Clear" panose="020B0604020203020204" pitchFamily="34" charset="0"/>
                <a:buChar char="–"/>
                <a:defRPr sz="1400">
                  <a:solidFill>
                    <a:schemeClr val="tx2"/>
                  </a:solidFill>
                  <a:cs typeface="Intel Clear" panose="020B0604020203020204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/>
                <a:buChar char="•"/>
                <a:defRPr sz="2000"/>
              </a:lvl9pPr>
            </a:lstStyle>
            <a:p>
              <a:r>
                <a:rPr lang="en-US" sz="1050" dirty="0" smtClean="0"/>
                <a:t> Maa</a:t>
              </a:r>
              <a:r>
                <a:rPr lang="en-US" sz="1050" dirty="0"/>
                <a:t>::Aio* a0;</a:t>
              </a:r>
            </a:p>
            <a:p>
              <a:r>
                <a:rPr lang="en-US" sz="1050" dirty="0" smtClean="0"/>
                <a:t> a0 </a:t>
              </a:r>
              <a:r>
                <a:rPr lang="en-US" sz="1050" dirty="0"/>
                <a:t>= new mraa::Aio(0); </a:t>
              </a:r>
              <a:r>
                <a:rPr lang="en-US" sz="1050" dirty="0">
                  <a:solidFill>
                    <a:schemeClr val="accent6">
                      <a:lumMod val="75000"/>
                    </a:schemeClr>
                  </a:solidFill>
                </a:rPr>
                <a:t>// Create AIO object for </a:t>
              </a:r>
              <a:r>
                <a:rPr lang="en-US" sz="1050" dirty="0" smtClean="0">
                  <a:solidFill>
                    <a:schemeClr val="accent6">
                      <a:lumMod val="75000"/>
                    </a:schemeClr>
                  </a:solidFill>
                </a:rPr>
                <a:t>pin0</a:t>
              </a:r>
              <a:endParaRPr lang="en-US" sz="1050" dirty="0">
                <a:solidFill>
                  <a:schemeClr val="accent6">
                    <a:lumMod val="75000"/>
                  </a:schemeClr>
                </a:solidFill>
              </a:endParaRPr>
            </a:p>
            <a:p>
              <a:r>
                <a:rPr lang="en-US" sz="1050" dirty="0" smtClean="0"/>
                <a:t> std</a:t>
              </a:r>
              <a:r>
                <a:rPr lang="en-US" sz="1050" dirty="0"/>
                <a:t>::cout &lt;&lt; a0-&gt;read() &lt;&lt; std::endl;</a:t>
              </a:r>
            </a:p>
          </p:txBody>
        </p:sp>
      </p:grpSp>
      <p:sp>
        <p:nvSpPr>
          <p:cNvPr id="8" name="Title 1"/>
          <p:cNvSpPr txBox="1">
            <a:spLocks/>
          </p:cNvSpPr>
          <p:nvPr/>
        </p:nvSpPr>
        <p:spPr>
          <a:xfrm>
            <a:off x="391293" y="836764"/>
            <a:ext cx="4056766" cy="1977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b="1" dirty="0" smtClean="0"/>
              <a:t>C  API</a:t>
            </a:r>
            <a:endParaRPr lang="en-US" sz="1600" b="1" dirty="0"/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391292" y="3479502"/>
            <a:ext cx="3228630" cy="228689"/>
          </a:xfrm>
        </p:spPr>
        <p:txBody>
          <a:bodyPr/>
          <a:lstStyle/>
          <a:p>
            <a:r>
              <a:rPr lang="en-GB" sz="1600" b="1" dirty="0"/>
              <a:t>Python API </a:t>
            </a: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391293" y="3791114"/>
            <a:ext cx="4070226" cy="1174842"/>
          </a:xfrm>
          <a:prstGeom prst="rect">
            <a:avLst/>
          </a:prstGeom>
          <a:ln w="6350">
            <a:solidFill>
              <a:srgbClr val="0000CC"/>
            </a:solidFill>
            <a:prstDash val="sysDash"/>
          </a:ln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None/>
              <a:defRPr sz="1800" b="0" kern="1200">
                <a:solidFill>
                  <a:srgbClr val="0071C5"/>
                </a:solidFill>
                <a:latin typeface="+mn-lt"/>
                <a:ea typeface="+mn-ea"/>
                <a:cs typeface="Intel Clear" panose="020B0604020203020204" pitchFamily="34" charset="0"/>
              </a:defRPr>
            </a:lvl1pPr>
            <a:lvl2pPr marL="225425" indent="-225425" algn="l" defTabSz="457200" rtl="0" eaLnBrk="1" latinLnBrk="0" hangingPunct="1">
              <a:spcBef>
                <a:spcPts val="1200"/>
              </a:spcBef>
              <a:buFont typeface="Wingdings" charset="2"/>
              <a:buChar char="§"/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Intel Clear" panose="020B0604020203020204" pitchFamily="34" charset="0"/>
              </a:defRPr>
            </a:lvl2pPr>
            <a:lvl3pPr marL="571500" indent="-228600" algn="l" defTabSz="457200" rtl="0" eaLnBrk="1" latinLnBrk="0" hangingPunct="1">
              <a:spcBef>
                <a:spcPts val="800"/>
              </a:spcBef>
              <a:buFont typeface="Wingdings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Intel Clear" panose="020B0604020203020204" pitchFamily="34" charset="0"/>
              </a:defRPr>
            </a:lvl3pPr>
            <a:lvl4pPr marL="969963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Intel Clear" panose="020B0604020203020204" pitchFamily="34" charset="0"/>
              </a:defRPr>
            </a:lvl4pPr>
            <a:lvl5pPr marL="1319213" indent="-228600" algn="l" defTabSz="457200" rtl="0" eaLnBrk="1" latinLnBrk="0" hangingPunct="1">
              <a:spcBef>
                <a:spcPct val="20000"/>
              </a:spcBef>
              <a:buFont typeface="Intel Clear" panose="020B0604020203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Intel Clear" panose="020B0604020203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10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from </a:t>
            </a:r>
            <a:r>
              <a:rPr lang="en-US" sz="11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raa import * </a:t>
            </a:r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Import mraa library</a:t>
            </a:r>
          </a:p>
          <a:p>
            <a:pPr marL="0" lvl="1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10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x </a:t>
            </a:r>
            <a:r>
              <a:rPr lang="en-US" sz="11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Gpio(8) </a:t>
            </a:r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Create a GPIO object for pin 8</a:t>
            </a:r>
          </a:p>
          <a:p>
            <a:pPr marL="0" lvl="1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10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x.dir(DIR_OUT</a:t>
            </a:r>
            <a:r>
              <a:rPr lang="en-US" sz="11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Set GPIO direction to outpu</a:t>
            </a:r>
            <a:r>
              <a:rPr lang="en-US" sz="11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</a:p>
          <a:p>
            <a:pPr marL="0" lvl="1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10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x.write(1</a:t>
            </a:r>
            <a:r>
              <a:rPr lang="en-US" sz="11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Write to GPIO</a:t>
            </a:r>
          </a:p>
          <a:p>
            <a:pPr marL="0" lvl="1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10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x </a:t>
            </a:r>
            <a:r>
              <a:rPr lang="en-US" sz="11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"</a:t>
            </a:r>
            <a:r>
              <a:rPr lang="en-US" sz="1100" dirty="0">
                <a:solidFill>
                  <a:srgbClr val="FF33CC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mory is not my problem!</a:t>
            </a:r>
            <a:r>
              <a:rPr lang="en-US" sz="11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</a:p>
        </p:txBody>
      </p:sp>
      <p:pic>
        <p:nvPicPr>
          <p:cNvPr id="11" name="Picture 3" descr="http://www.unixstickers.com/image/cache/data/stickers/python/python.sh-600x6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08" y="3370635"/>
            <a:ext cx="451502" cy="451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ontent Placeholder 2"/>
          <p:cNvSpPr txBox="1">
            <a:spLocks/>
          </p:cNvSpPr>
          <p:nvPr/>
        </p:nvSpPr>
        <p:spPr>
          <a:xfrm>
            <a:off x="4858574" y="3745053"/>
            <a:ext cx="4147378" cy="1039922"/>
          </a:xfrm>
          <a:prstGeom prst="rect">
            <a:avLst/>
          </a:prstGeom>
          <a:ln w="6350">
            <a:solidFill>
              <a:srgbClr val="0000CC"/>
            </a:solidFill>
            <a:prstDash val="sysDash"/>
          </a:ln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None/>
              <a:defRPr sz="1800" b="0" kern="1200">
                <a:solidFill>
                  <a:srgbClr val="0071C5"/>
                </a:solidFill>
                <a:latin typeface="+mn-lt"/>
                <a:ea typeface="+mn-ea"/>
                <a:cs typeface="Intel Clear" panose="020B0604020203020204" pitchFamily="34" charset="0"/>
              </a:defRPr>
            </a:lvl1pPr>
            <a:lvl2pPr marL="225425" indent="-225425" algn="l" defTabSz="457200" rtl="0" eaLnBrk="1" latinLnBrk="0" hangingPunct="1">
              <a:spcBef>
                <a:spcPts val="1200"/>
              </a:spcBef>
              <a:buFont typeface="Wingdings" charset="2"/>
              <a:buChar char="§"/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Intel Clear" panose="020B0604020203020204" pitchFamily="34" charset="0"/>
              </a:defRPr>
            </a:lvl2pPr>
            <a:lvl3pPr marL="571500" indent="-228600" algn="l" defTabSz="457200" rtl="0" eaLnBrk="1" latinLnBrk="0" hangingPunct="1">
              <a:spcBef>
                <a:spcPts val="800"/>
              </a:spcBef>
              <a:buFont typeface="Wingdings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Intel Clear" panose="020B0604020203020204" pitchFamily="34" charset="0"/>
              </a:defRPr>
            </a:lvl3pPr>
            <a:lvl4pPr marL="969963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Intel Clear" panose="020B0604020203020204" pitchFamily="34" charset="0"/>
              </a:defRPr>
            </a:lvl4pPr>
            <a:lvl5pPr marL="1319213" indent="-228600" algn="l" defTabSz="457200" rtl="0" eaLnBrk="1" latinLnBrk="0" hangingPunct="1">
              <a:spcBef>
                <a:spcPct val="20000"/>
              </a:spcBef>
              <a:buFont typeface="Intel Clear" panose="020B0604020203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Intel Clear" panose="020B0604020203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lvl="1" indent="0">
              <a:spcBef>
                <a:spcPts val="200"/>
              </a:spcBef>
              <a:spcAft>
                <a:spcPts val="200"/>
              </a:spcAft>
              <a:buNone/>
            </a:pPr>
            <a:r>
              <a:rPr lang="en-US" sz="11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 m = require("mraa") </a:t>
            </a:r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Import mraa module</a:t>
            </a:r>
          </a:p>
          <a:p>
            <a:pPr marL="182563" lvl="1" indent="0">
              <a:spcBef>
                <a:spcPts val="200"/>
              </a:spcBef>
              <a:spcAft>
                <a:spcPts val="200"/>
              </a:spcAft>
              <a:buNone/>
            </a:pPr>
            <a:r>
              <a:rPr lang="en-US" sz="11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r x = new m.Gpio(8) </a:t>
            </a:r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Create a GPIO object</a:t>
            </a:r>
            <a:r>
              <a:rPr lang="en-US" sz="11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for pin 8</a:t>
            </a:r>
          </a:p>
          <a:p>
            <a:pPr marL="182563" lvl="1" indent="0">
              <a:spcBef>
                <a:spcPts val="200"/>
              </a:spcBef>
              <a:spcAft>
                <a:spcPts val="200"/>
              </a:spcAft>
              <a:buNone/>
            </a:pPr>
            <a:r>
              <a:rPr lang="en-US" sz="11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.dir(m.DIR_OUT) </a:t>
            </a:r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Set GPIO direction to output</a:t>
            </a:r>
          </a:p>
          <a:p>
            <a:pPr marL="182563" lvl="1" indent="0">
              <a:spcBef>
                <a:spcPts val="200"/>
              </a:spcBef>
              <a:spcAft>
                <a:spcPts val="200"/>
              </a:spcAft>
              <a:buNone/>
            </a:pPr>
            <a:r>
              <a:rPr lang="en-US" sz="11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.write(1)</a:t>
            </a:r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# Write to GPIO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4858574" y="3463814"/>
            <a:ext cx="3228630" cy="2286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600" b="1" dirty="0" smtClean="0"/>
              <a:t>JS (node.js)  API  </a:t>
            </a:r>
            <a:endParaRPr lang="en-GB" sz="1600" b="1" dirty="0"/>
          </a:p>
        </p:txBody>
      </p:sp>
      <p:pic>
        <p:nvPicPr>
          <p:cNvPr id="14" name="Picture 2" descr="http://www.sharpwebstudio.com/wp-content/uploads/2014/04/nodejs-ligh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2889" y="3245939"/>
            <a:ext cx="1126908" cy="563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559" y="609599"/>
            <a:ext cx="2178823" cy="1717004"/>
          </a:xfrm>
          <a:prstGeom prst="rect">
            <a:avLst/>
          </a:prstGeom>
        </p:spPr>
      </p:pic>
      <p:sp>
        <p:nvSpPr>
          <p:cNvPr id="19" name="Title 1"/>
          <p:cNvSpPr txBox="1">
            <a:spLocks/>
          </p:cNvSpPr>
          <p:nvPr/>
        </p:nvSpPr>
        <p:spPr>
          <a:xfrm>
            <a:off x="243938" y="24028"/>
            <a:ext cx="5242462" cy="2917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 smtClean="0">
                <a:latin typeface="+mn-lt"/>
                <a:cs typeface="Clear Sans Medium" panose="020B0603030202020304" pitchFamily="34" charset="0"/>
              </a:rPr>
              <a:t>libmraa</a:t>
            </a:r>
            <a:endParaRPr lang="en-US" sz="2400" b="1" dirty="0">
              <a:latin typeface="+mn-lt"/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372418" y="388077"/>
            <a:ext cx="8633534" cy="2917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/>
              <a:t>I/O abstraction library to facilitate easy access to GPIO, I2C, SPI, PWM and UART</a:t>
            </a:r>
            <a:endParaRPr lang="en-US" sz="1800" b="1" dirty="0"/>
          </a:p>
        </p:txBody>
      </p:sp>
      <p:sp>
        <p:nvSpPr>
          <p:cNvPr id="21" name="Shape 402"/>
          <p:cNvSpPr/>
          <p:nvPr/>
        </p:nvSpPr>
        <p:spPr>
          <a:xfrm>
            <a:off x="2273096" y="4968698"/>
            <a:ext cx="5412477" cy="215403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800" b="0" i="0" u="none" strike="noStrike" cap="none" baseline="0" dirty="0" smtClean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* Names </a:t>
            </a:r>
            <a:r>
              <a:rPr lang="en-US" sz="800" b="0" i="0" u="none" strike="noStrike" cap="none" baseline="0" dirty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and brands may be claimed by the property of </a:t>
            </a:r>
            <a:r>
              <a:rPr lang="en-US" sz="800" b="0" i="0" u="none" strike="noStrike" cap="none" baseline="0" dirty="0" smtClean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third </a:t>
            </a:r>
            <a:r>
              <a:rPr lang="en-US" sz="800" b="0" i="0" u="none" strike="noStrike" cap="none" baseline="0" dirty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party name and the notation</a:t>
            </a:r>
            <a:r>
              <a:rPr lang="en-US" sz="800" b="0" i="0" u="none" strike="noStrike" cap="none" baseline="0" dirty="0" smtClean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.</a:t>
            </a:r>
            <a:endParaRPr lang="en-US" sz="800" b="0" i="0" u="none" strike="noStrike" cap="none" baseline="0" dirty="0">
              <a:solidFill>
                <a:schemeClr val="bg1">
                  <a:lumMod val="65000"/>
                </a:schemeClr>
              </a:solidFill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243538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 animBg="1"/>
      <p:bldP spid="8" grpId="0"/>
      <p:bldP spid="9" grpId="0"/>
      <p:bldP spid="10" grpId="0" animBg="1"/>
      <p:bldP spid="12" grpId="0" animBg="1"/>
      <p:bldP spid="1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/>
        </p:nvSpPr>
        <p:spPr>
          <a:xfrm>
            <a:off x="6776283" y="4851695"/>
            <a:ext cx="2133600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Intel Clear Light" panose="020B0404020203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E2556C5-CE8C-6547-B838-EA80C61A4AF7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243938" y="24028"/>
            <a:ext cx="5242462" cy="2917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 smtClean="0">
                <a:latin typeface="+mn-lt"/>
                <a:cs typeface="Clear Sans Medium" panose="020B0603030202020304" pitchFamily="34" charset="0"/>
              </a:rPr>
              <a:t>UPM </a:t>
            </a:r>
            <a:r>
              <a:rPr lang="en-US" sz="2000" dirty="0" smtClean="0">
                <a:latin typeface="+mn-lt"/>
                <a:cs typeface="Clear Sans Medium" panose="020B0603030202020304" pitchFamily="34" charset="0"/>
              </a:rPr>
              <a:t>(Useful Packages for Mraa)</a:t>
            </a:r>
            <a:endParaRPr lang="en-US" sz="2400" dirty="0">
              <a:latin typeface="+mn-lt"/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315662" y="481074"/>
            <a:ext cx="7294281" cy="2917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i="1" dirty="0" smtClean="0"/>
              <a:t>Sensor library using libmraa for easy sensor access</a:t>
            </a:r>
            <a:endParaRPr lang="en-US" sz="1800" b="1" i="1" dirty="0"/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315662" y="959183"/>
            <a:ext cx="3628266" cy="2402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b="1" dirty="0" smtClean="0"/>
              <a:t>Example of UPM  Modules</a:t>
            </a:r>
            <a:endParaRPr lang="en-US" sz="1600" b="1" dirty="0"/>
          </a:p>
        </p:txBody>
      </p:sp>
      <p:grpSp>
        <p:nvGrpSpPr>
          <p:cNvPr id="3" name="Group 2"/>
          <p:cNvGrpSpPr/>
          <p:nvPr/>
        </p:nvGrpSpPr>
        <p:grpSpPr>
          <a:xfrm>
            <a:off x="902385" y="1336365"/>
            <a:ext cx="5802469" cy="1137681"/>
            <a:chOff x="902385" y="1336365"/>
            <a:chExt cx="5802469" cy="1137681"/>
          </a:xfrm>
        </p:grpSpPr>
        <p:sp>
          <p:nvSpPr>
            <p:cNvPr id="22" name="Content Placeholder 2"/>
            <p:cNvSpPr txBox="1">
              <a:spLocks/>
            </p:cNvSpPr>
            <p:nvPr/>
          </p:nvSpPr>
          <p:spPr>
            <a:xfrm>
              <a:off x="902385" y="1577671"/>
              <a:ext cx="5454271" cy="896375"/>
            </a:xfrm>
            <a:prstGeom prst="rect">
              <a:avLst/>
            </a:prstGeom>
            <a:ln w="6350">
              <a:solidFill>
                <a:srgbClr val="0000CC"/>
              </a:solidFill>
              <a:prstDash val="sysDash"/>
            </a:ln>
          </p:spPr>
          <p:txBody>
            <a:bodyPr vert="horz" lIns="0" tIns="0" rIns="0" bIns="0" rtlCol="0">
              <a:noAutofit/>
            </a:bodyPr>
            <a:lstStyle>
              <a:lvl1pPr marL="0" indent="0" algn="l" defTabSz="457200" rtl="0" eaLnBrk="1" latinLnBrk="0" hangingPunct="1">
                <a:spcBef>
                  <a:spcPts val="1200"/>
                </a:spcBef>
                <a:spcAft>
                  <a:spcPts val="0"/>
                </a:spcAft>
                <a:buFont typeface="Wingdings" panose="05000000000000000000" pitchFamily="2" charset="2"/>
                <a:buNone/>
                <a:defRPr sz="1800" b="0" kern="1200">
                  <a:solidFill>
                    <a:srgbClr val="0071C5"/>
                  </a:solidFill>
                  <a:latin typeface="+mn-lt"/>
                  <a:ea typeface="+mn-ea"/>
                  <a:cs typeface="Intel Clear" panose="020B0604020203020204" pitchFamily="34" charset="0"/>
                </a:defRPr>
              </a:lvl1pPr>
              <a:lvl2pPr marL="225425" indent="-225425" algn="l" defTabSz="457200" rtl="0" eaLnBrk="1" latinLnBrk="0" hangingPunct="1">
                <a:spcBef>
                  <a:spcPts val="1200"/>
                </a:spcBef>
                <a:buFont typeface="Wingdings" charset="2"/>
                <a:buChar char="§"/>
                <a:defRPr sz="1600" kern="1200" baseline="0">
                  <a:solidFill>
                    <a:schemeClr val="tx2"/>
                  </a:solidFill>
                  <a:latin typeface="+mn-lt"/>
                  <a:ea typeface="+mn-ea"/>
                  <a:cs typeface="Intel Clear" panose="020B0604020203020204" pitchFamily="34" charset="0"/>
                </a:defRPr>
              </a:lvl2pPr>
              <a:lvl3pPr marL="571500" indent="-228600" algn="l" defTabSz="457200" rtl="0" eaLnBrk="1" latinLnBrk="0" hangingPunct="1">
                <a:spcBef>
                  <a:spcPts val="800"/>
                </a:spcBef>
                <a:buFont typeface="Wingdings" charset="2"/>
                <a:buChar char="§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Intel Clear" panose="020B0604020203020204" pitchFamily="34" charset="0"/>
                </a:defRPr>
              </a:lvl3pPr>
              <a:lvl4pPr marL="969963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Intel Clear" panose="020B0604020203020204" pitchFamily="34" charset="0"/>
                </a:defRPr>
              </a:lvl4pPr>
              <a:lvl5pPr marL="1319213" indent="-228600" algn="l" defTabSz="457200" rtl="0" eaLnBrk="1" latinLnBrk="0" hangingPunct="1">
                <a:spcBef>
                  <a:spcPct val="20000"/>
                </a:spcBef>
                <a:buFont typeface="Intel Clear" panose="020B0604020203020204" pitchFamily="34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Intel Clear" panose="020B0604020203020204" pitchFamily="34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200"/>
                </a:spcBef>
                <a:spcAft>
                  <a:spcPts val="200"/>
                </a:spcAft>
              </a:pPr>
              <a:r>
                <a:rPr lang="en-US" sz="1000" dirty="0" smtClean="0">
                  <a:solidFill>
                    <a:schemeClr val="accent6">
                      <a:lumMod val="75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// </a:t>
              </a:r>
              <a:r>
                <a:rPr lang="en-US" sz="1000" dirty="0">
                  <a:solidFill>
                    <a:schemeClr val="accent6">
                      <a:lumMod val="75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reate the temperature sensor object using AIO pin 0</a:t>
              </a:r>
            </a:p>
            <a:p>
              <a:pPr>
                <a:spcBef>
                  <a:spcPts val="200"/>
                </a:spcBef>
                <a:spcAft>
                  <a:spcPts val="200"/>
                </a:spcAft>
              </a:pPr>
              <a:r>
                <a:rPr lang="en-US" sz="1000" dirty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upm::GroveTemp* temp = new upm::GroveTemp(0);</a:t>
              </a:r>
            </a:p>
            <a:p>
              <a:pPr>
                <a:spcBef>
                  <a:spcPts val="200"/>
                </a:spcBef>
                <a:spcAft>
                  <a:spcPts val="200"/>
                </a:spcAft>
              </a:pPr>
              <a:r>
                <a:rPr lang="en-US" sz="1000" dirty="0" smtClean="0">
                  <a:solidFill>
                    <a:schemeClr val="accent6">
                      <a:lumMod val="75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// </a:t>
              </a:r>
              <a:r>
                <a:rPr lang="en-US" sz="1000" dirty="0">
                  <a:solidFill>
                    <a:schemeClr val="accent6">
                      <a:lumMod val="75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Print the value of temprature reading in deg. centigrade</a:t>
              </a:r>
            </a:p>
            <a:p>
              <a:pPr>
                <a:spcBef>
                  <a:spcPts val="200"/>
                </a:spcBef>
                <a:spcAft>
                  <a:spcPts val="200"/>
                </a:spcAft>
              </a:pPr>
              <a:r>
                <a:rPr lang="en-US" sz="1000" dirty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std::cout &lt;&lt; temp-&gt;value() &lt;&lt; std::endl</a:t>
              </a:r>
              <a:r>
                <a:rPr lang="en-US" sz="1000" dirty="0" smtClean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24" name="Picture 5" descr="http://www.seeedstudio.com/wiki/images/thumb/b/b0/Temperature1.jpg/400px-Temperature1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91719" y="1701437"/>
              <a:ext cx="713135" cy="6186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Title 1"/>
            <p:cNvSpPr txBox="1">
              <a:spLocks/>
            </p:cNvSpPr>
            <p:nvPr/>
          </p:nvSpPr>
          <p:spPr>
            <a:xfrm>
              <a:off x="902387" y="1336365"/>
              <a:ext cx="3628266" cy="24021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2800" kern="1200" baseline="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600" b="1" dirty="0" smtClean="0"/>
                <a:t>Temperature Sensor</a:t>
              </a:r>
              <a:endParaRPr lang="en-US" sz="1600" b="1" dirty="0"/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902386" y="2868543"/>
            <a:ext cx="5810837" cy="1643108"/>
            <a:chOff x="902386" y="2868543"/>
            <a:chExt cx="5810837" cy="1643108"/>
          </a:xfrm>
        </p:grpSpPr>
        <p:sp>
          <p:nvSpPr>
            <p:cNvPr id="25" name="Content Placeholder 2"/>
            <p:cNvSpPr txBox="1">
              <a:spLocks/>
            </p:cNvSpPr>
            <p:nvPr/>
          </p:nvSpPr>
          <p:spPr>
            <a:xfrm>
              <a:off x="902386" y="3142472"/>
              <a:ext cx="5454271" cy="1369179"/>
            </a:xfrm>
            <a:prstGeom prst="rect">
              <a:avLst/>
            </a:prstGeom>
            <a:ln w="6350">
              <a:solidFill>
                <a:srgbClr val="0000CC"/>
              </a:solidFill>
              <a:prstDash val="sysDash"/>
            </a:ln>
          </p:spPr>
          <p:txBody>
            <a:bodyPr vert="horz" lIns="0" tIns="0" rIns="0" bIns="0" rtlCol="0">
              <a:noAutofit/>
            </a:bodyPr>
            <a:lstStyle>
              <a:lvl1pPr marL="0" indent="0" algn="l" defTabSz="457200" rtl="0" eaLnBrk="1" latinLnBrk="0" hangingPunct="1">
                <a:spcBef>
                  <a:spcPts val="1200"/>
                </a:spcBef>
                <a:spcAft>
                  <a:spcPts val="0"/>
                </a:spcAft>
                <a:buFont typeface="Wingdings" panose="05000000000000000000" pitchFamily="2" charset="2"/>
                <a:buNone/>
                <a:defRPr sz="1800" b="0" kern="1200">
                  <a:solidFill>
                    <a:srgbClr val="0071C5"/>
                  </a:solidFill>
                  <a:latin typeface="+mn-lt"/>
                  <a:ea typeface="+mn-ea"/>
                  <a:cs typeface="Intel Clear" panose="020B0604020203020204" pitchFamily="34" charset="0"/>
                </a:defRPr>
              </a:lvl1pPr>
              <a:lvl2pPr marL="225425" indent="-225425" algn="l" defTabSz="457200" rtl="0" eaLnBrk="1" latinLnBrk="0" hangingPunct="1">
                <a:spcBef>
                  <a:spcPts val="1200"/>
                </a:spcBef>
                <a:buFont typeface="Wingdings" charset="2"/>
                <a:buChar char="§"/>
                <a:defRPr sz="1600" kern="1200" baseline="0">
                  <a:solidFill>
                    <a:schemeClr val="tx2"/>
                  </a:solidFill>
                  <a:latin typeface="+mn-lt"/>
                  <a:ea typeface="+mn-ea"/>
                  <a:cs typeface="Intel Clear" panose="020B0604020203020204" pitchFamily="34" charset="0"/>
                </a:defRPr>
              </a:lvl2pPr>
              <a:lvl3pPr marL="571500" indent="-228600" algn="l" defTabSz="457200" rtl="0" eaLnBrk="1" latinLnBrk="0" hangingPunct="1">
                <a:spcBef>
                  <a:spcPts val="800"/>
                </a:spcBef>
                <a:buFont typeface="Wingdings" charset="2"/>
                <a:buChar char="§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Intel Clear" panose="020B0604020203020204" pitchFamily="34" charset="0"/>
                </a:defRPr>
              </a:lvl3pPr>
              <a:lvl4pPr marL="969963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Intel Clear" panose="020B0604020203020204" pitchFamily="34" charset="0"/>
                </a:defRPr>
              </a:lvl4pPr>
              <a:lvl5pPr marL="1319213" indent="-228600" algn="l" defTabSz="457200" rtl="0" eaLnBrk="1" latinLnBrk="0" hangingPunct="1">
                <a:spcBef>
                  <a:spcPct val="20000"/>
                </a:spcBef>
                <a:buFont typeface="Intel Clear" panose="020B0604020203020204" pitchFamily="34" charset="0"/>
                <a:buChar char="–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Intel Clear" panose="020B0604020203020204" pitchFamily="34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200"/>
                </a:spcBef>
                <a:spcAft>
                  <a:spcPts val="200"/>
                </a:spcAft>
              </a:pPr>
              <a:r>
                <a:rPr lang="en-GB" sz="1000" dirty="0" smtClean="0">
                  <a:solidFill>
                    <a:schemeClr val="accent6">
                      <a:lumMod val="75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// Create an </a:t>
              </a:r>
              <a:r>
                <a:rPr lang="en-GB" sz="1000" dirty="0">
                  <a:solidFill>
                    <a:schemeClr val="accent6">
                      <a:lumMod val="75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object of type </a:t>
              </a:r>
              <a:r>
                <a:rPr lang="en-GB" sz="1000" dirty="0" smtClean="0">
                  <a:solidFill>
                    <a:schemeClr val="accent6">
                      <a:lumMod val="75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Y65(bmp085</a:t>
              </a:r>
              <a:r>
                <a:rPr lang="en-GB" sz="1000" dirty="0">
                  <a:solidFill>
                    <a:schemeClr val="accent6">
                      <a:lumMod val="75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) on i2c bus 0</a:t>
              </a:r>
            </a:p>
            <a:p>
              <a:pPr>
                <a:spcBef>
                  <a:spcPts val="200"/>
                </a:spcBef>
                <a:spcAft>
                  <a:spcPts val="200"/>
                </a:spcAft>
              </a:pPr>
              <a:r>
                <a:rPr lang="en-GB" sz="1000" dirty="0" smtClean="0">
                  <a:solidFill>
                    <a:schemeClr val="accent6">
                      <a:lumMod val="75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GB" sz="1000" dirty="0" smtClean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upm</a:t>
              </a:r>
              <a:r>
                <a:rPr lang="en-GB" sz="1000" dirty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::GY65 *sensor = new upm::GY65(0, 0x77);</a:t>
              </a:r>
            </a:p>
            <a:p>
              <a:pPr>
                <a:spcBef>
                  <a:spcPts val="200"/>
                </a:spcBef>
                <a:spcAft>
                  <a:spcPts val="200"/>
                </a:spcAft>
              </a:pPr>
              <a:r>
                <a:rPr lang="en-GB" sz="1000" dirty="0" smtClean="0">
                  <a:solidFill>
                    <a:schemeClr val="accent6">
                      <a:lumMod val="75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//</a:t>
              </a:r>
              <a:r>
                <a:rPr lang="en-GB" sz="1000" dirty="0">
                  <a:solidFill>
                    <a:schemeClr val="accent6">
                      <a:lumMod val="75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print temp. pressure &amp; Altitude</a:t>
              </a:r>
            </a:p>
            <a:p>
              <a:pPr>
                <a:spcBef>
                  <a:spcPts val="200"/>
                </a:spcBef>
                <a:spcAft>
                  <a:spcPts val="200"/>
                </a:spcAft>
              </a:pPr>
              <a:r>
                <a:rPr lang="en-GB" sz="1000" dirty="0" smtClean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std</a:t>
              </a:r>
              <a:r>
                <a:rPr lang="en-GB" sz="1000" dirty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::cout &lt;&lt; sensor-&gt;getTemperature()&lt;&lt; std::endl;</a:t>
              </a:r>
            </a:p>
            <a:p>
              <a:pPr>
                <a:spcBef>
                  <a:spcPts val="200"/>
                </a:spcBef>
                <a:spcAft>
                  <a:spcPts val="200"/>
                </a:spcAft>
              </a:pPr>
              <a:r>
                <a:rPr lang="en-GB" sz="1000" dirty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GB" sz="1000" dirty="0" smtClean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std</a:t>
              </a:r>
              <a:r>
                <a:rPr lang="en-GB" sz="1000" dirty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::cout &lt;&lt; sensor-&gt;getPressure() &lt;&lt; std::endl;</a:t>
              </a:r>
            </a:p>
            <a:p>
              <a:pPr>
                <a:spcBef>
                  <a:spcPts val="200"/>
                </a:spcBef>
                <a:spcAft>
                  <a:spcPts val="200"/>
                </a:spcAft>
              </a:pPr>
              <a:r>
                <a:rPr lang="en-GB" sz="1000" dirty="0" smtClean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 std</a:t>
              </a:r>
              <a:r>
                <a:rPr lang="en-GB" sz="1000" dirty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::cout &lt;&lt; sensor-&gt;getAltitude()&lt;&lt; std::endl; </a:t>
              </a:r>
            </a:p>
          </p:txBody>
        </p:sp>
        <p:sp>
          <p:nvSpPr>
            <p:cNvPr id="28" name="Title 1"/>
            <p:cNvSpPr txBox="1">
              <a:spLocks/>
            </p:cNvSpPr>
            <p:nvPr/>
          </p:nvSpPr>
          <p:spPr>
            <a:xfrm>
              <a:off x="902387" y="2868543"/>
              <a:ext cx="3628266" cy="24021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2800" kern="1200" baseline="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600" b="1" dirty="0"/>
                <a:t>Atmospheric Pressure </a:t>
              </a:r>
              <a:r>
                <a:rPr lang="en-US" sz="1600" b="1" dirty="0" smtClean="0"/>
                <a:t>Sensor</a:t>
              </a:r>
              <a:endParaRPr lang="en-US" sz="1600" b="1" dirty="0"/>
            </a:p>
          </p:txBody>
        </p:sp>
        <p:pic>
          <p:nvPicPr>
            <p:cNvPr id="29" name="Picture 2" descr="BMP085 Barometric Pressure/Temperature/Altitude Sensor- 5V ready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43" t="17167" r="41137" b="13492"/>
            <a:stretch/>
          </p:blipFill>
          <p:spPr bwMode="auto">
            <a:xfrm>
              <a:off x="5994510" y="3453185"/>
              <a:ext cx="718713" cy="747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524025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01211" y="85826"/>
            <a:ext cx="8761814" cy="415201"/>
          </a:xfrm>
        </p:spPr>
        <p:txBody>
          <a:bodyPr/>
          <a:lstStyle/>
          <a:p>
            <a:r>
              <a:rPr lang="de-DE" b="1" dirty="0" smtClean="0">
                <a:latin typeface="+mn-lt"/>
              </a:rPr>
              <a:t>Intel® </a:t>
            </a:r>
            <a:r>
              <a:rPr lang="de-DE" b="1" dirty="0" err="1" smtClean="0">
                <a:latin typeface="+mn-lt"/>
              </a:rPr>
              <a:t>IoT</a:t>
            </a:r>
            <a:r>
              <a:rPr lang="de-DE" b="1" dirty="0" smtClean="0">
                <a:latin typeface="+mn-lt"/>
              </a:rPr>
              <a:t> Analytics - </a:t>
            </a:r>
            <a:r>
              <a:rPr lang="en-US" b="1" dirty="0">
                <a:latin typeface="+mn-lt"/>
              </a:rPr>
              <a:t>www.enableiot.com</a:t>
            </a:r>
            <a:br>
              <a:rPr lang="en-US" b="1" dirty="0">
                <a:latin typeface="+mn-lt"/>
              </a:rPr>
            </a:br>
            <a:endParaRPr lang="en-US" b="1" dirty="0">
              <a:latin typeface="+mn-lt"/>
            </a:endParaRPr>
          </a:p>
        </p:txBody>
      </p:sp>
      <p:sp>
        <p:nvSpPr>
          <p:cNvPr id="4" name="Content Placeholder 10"/>
          <p:cNvSpPr>
            <a:spLocks noGrp="1"/>
          </p:cNvSpPr>
          <p:nvPr>
            <p:ph sz="half" idx="4294967295"/>
          </p:nvPr>
        </p:nvSpPr>
        <p:spPr>
          <a:xfrm>
            <a:off x="358590" y="653770"/>
            <a:ext cx="4032621" cy="864058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 smtClean="0">
                <a:solidFill>
                  <a:schemeClr val="tx1"/>
                </a:solidFill>
              </a:rPr>
              <a:t>RESTful</a:t>
            </a:r>
            <a:r>
              <a:rPr lang="de-DE" dirty="0" smtClean="0">
                <a:solidFill>
                  <a:schemeClr val="tx1"/>
                </a:solidFill>
              </a:rPr>
              <a:t> API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 smtClean="0">
                <a:solidFill>
                  <a:schemeClr val="tx1"/>
                </a:solidFill>
              </a:rPr>
              <a:t>iotkit</a:t>
            </a:r>
            <a:r>
              <a:rPr lang="de-DE" dirty="0" smtClean="0">
                <a:solidFill>
                  <a:schemeClr val="tx1"/>
                </a:solidFill>
              </a:rPr>
              <a:t>-agent (UDP / TCP)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Content Placeholder 11"/>
          <p:cNvSpPr>
            <a:spLocks noGrp="1"/>
          </p:cNvSpPr>
          <p:nvPr>
            <p:ph sz="half" idx="4294967295"/>
          </p:nvPr>
        </p:nvSpPr>
        <p:spPr>
          <a:xfrm>
            <a:off x="4630502" y="614167"/>
            <a:ext cx="4510939" cy="155150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! /usr/bin/env </a:t>
            </a:r>
            <a:r>
              <a:rPr lang="en-US" sz="105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ython</a:t>
            </a:r>
            <a:br>
              <a:rPr lang="en-US" sz="105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5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mport socket</a:t>
            </a:r>
            <a:br>
              <a:rPr lang="en-US" sz="105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5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</a:t>
            </a:r>
          </a:p>
          <a:p>
            <a:r>
              <a:rPr lang="en-US" sz="105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DP_PORT 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41234 </a:t>
            </a:r>
            <a:b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5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k 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ket.socket(socket.AF_INET, socket.SOCK_DGRAM)</a:t>
            </a:r>
          </a:p>
          <a:p>
            <a:r>
              <a:rPr lang="en-US" sz="105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k.sendto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'{"n":"' + </a:t>
            </a:r>
            <a:r>
              <a:rPr lang="en-US" sz="105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mponent + </a:t>
            </a:r>
            <a:br>
              <a:rPr lang="en-US" sz="105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5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‘","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":"' + </a:t>
            </a:r>
            <a:r>
              <a:rPr lang="en-US" sz="1050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 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 '"}', ('localhost', UDP_PORT))</a:t>
            </a:r>
          </a:p>
          <a:p>
            <a:endParaRPr lang="en-US" sz="105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716096" y="1449690"/>
            <a:ext cx="4716530" cy="3347674"/>
            <a:chOff x="4493670" y="2919592"/>
            <a:chExt cx="6480498" cy="4201297"/>
          </a:xfrm>
        </p:grpSpPr>
        <p:sp>
          <p:nvSpPr>
            <p:cNvPr id="7" name="Isosceles Triangle 6"/>
            <p:cNvSpPr/>
            <p:nvPr/>
          </p:nvSpPr>
          <p:spPr bwMode="auto">
            <a:xfrm rot="5400000">
              <a:off x="7746187" y="3870770"/>
              <a:ext cx="4169344" cy="2286618"/>
            </a:xfrm>
            <a:prstGeom prst="triangle">
              <a:avLst>
                <a:gd name="adj" fmla="val 51778"/>
              </a:avLst>
            </a:pr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schemeClr val="tx1"/>
                </a:buClr>
              </a:pPr>
              <a:endParaRPr lang="en-US" sz="21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cs typeface="Arial" charset="0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4493670" y="2919592"/>
              <a:ext cx="4286583" cy="4201297"/>
              <a:chOff x="4674766" y="2875005"/>
              <a:chExt cx="4563950" cy="4473146"/>
            </a:xfrm>
          </p:grpSpPr>
          <p:sp>
            <p:nvSpPr>
              <p:cNvPr id="9" name="Rounded Rectangle 8"/>
              <p:cNvSpPr/>
              <p:nvPr/>
            </p:nvSpPr>
            <p:spPr bwMode="auto">
              <a:xfrm>
                <a:off x="4674766" y="2875005"/>
                <a:ext cx="4563950" cy="4473146"/>
              </a:xfrm>
              <a:prstGeom prst="roundRect">
                <a:avLst>
                  <a:gd name="adj" fmla="val 2486"/>
                </a:avLst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372" tIns="45688" rIns="91372" bIns="45688" numCol="1" rtlCol="0" anchor="t" anchorCtr="1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95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chemeClr val="tx1"/>
                  </a:buClr>
                </a:pPr>
                <a:endParaRPr lang="en-US" sz="21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itchFamily="34" charset="0"/>
                  <a:cs typeface="Arial" charset="0"/>
                </a:endParaRPr>
              </a:p>
            </p:txBody>
          </p:sp>
          <p:grpSp>
            <p:nvGrpSpPr>
              <p:cNvPr id="10" name="Group 9"/>
              <p:cNvGrpSpPr/>
              <p:nvPr/>
            </p:nvGrpSpPr>
            <p:grpSpPr>
              <a:xfrm>
                <a:off x="4776298" y="3090217"/>
                <a:ext cx="4351153" cy="4019550"/>
                <a:chOff x="5881269" y="2630797"/>
                <a:chExt cx="5421421" cy="5008253"/>
              </a:xfrm>
            </p:grpSpPr>
            <p:sp>
              <p:nvSpPr>
                <p:cNvPr id="11" name="Parallelogram 10"/>
                <p:cNvSpPr/>
                <p:nvPr/>
              </p:nvSpPr>
              <p:spPr bwMode="auto">
                <a:xfrm>
                  <a:off x="5881270" y="2630797"/>
                  <a:ext cx="5410832" cy="1520270"/>
                </a:xfrm>
                <a:prstGeom prst="parallelogram">
                  <a:avLst>
                    <a:gd name="adj" fmla="val 0"/>
                  </a:avLst>
                </a:prstGeom>
                <a:blipFill dpi="0" rotWithShape="1">
                  <a:blip r:embed="rId3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a:blip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372" tIns="45688" rIns="91372" bIns="45688" numCol="1" rtlCol="0" anchor="t" anchorCtr="1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95000"/>
                    </a:lnSpc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tx1"/>
                    </a:buClr>
                  </a:pPr>
                  <a:endParaRPr lang="en-US" sz="210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itchFamily="34" charset="0"/>
                    <a:cs typeface="Arial" charset="0"/>
                  </a:endParaRPr>
                </a:p>
              </p:txBody>
            </p:sp>
            <p:pic>
              <p:nvPicPr>
                <p:cNvPr id="12" name="Picture 11" descr="Screen Shot 2014-08-28 at 12.22.26 AM.png"/>
                <p:cNvPicPr>
                  <a:picLocks noChangeAspect="1"/>
                </p:cNvPicPr>
                <p:nvPr/>
              </p:nvPicPr>
              <p:blipFill rotWithShape="1">
                <a:blip r:embed="rId4" cstate="print">
                  <a:alphaModFix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5881269" y="4151067"/>
                  <a:ext cx="5421421" cy="3487983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6352" y="3916032"/>
            <a:ext cx="1120460" cy="1031578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4589787" y="2329046"/>
            <a:ext cx="4107498" cy="2281144"/>
            <a:chOff x="4717505" y="2690032"/>
            <a:chExt cx="9160921" cy="5166092"/>
          </a:xfrm>
          <a:solidFill>
            <a:schemeClr val="accent1"/>
          </a:solidFill>
        </p:grpSpPr>
        <p:pic>
          <p:nvPicPr>
            <p:cNvPr id="15" name="Picture 14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9942"/>
            <a:stretch/>
          </p:blipFill>
          <p:spPr>
            <a:xfrm>
              <a:off x="5697757" y="3360685"/>
              <a:ext cx="3886995" cy="2513066"/>
            </a:xfrm>
            <a:prstGeom prst="rect">
              <a:avLst/>
            </a:prstGeom>
            <a:grpFill/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861418" y="4868162"/>
              <a:ext cx="3886995" cy="2513066"/>
            </a:xfrm>
            <a:prstGeom prst="rect">
              <a:avLst/>
            </a:prstGeom>
            <a:grpFill/>
          </p:spPr>
        </p:pic>
        <p:pic>
          <p:nvPicPr>
            <p:cNvPr id="17" name="Picture 4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4717505" y="5713674"/>
              <a:ext cx="1051047" cy="1051047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460707" y="3011866"/>
              <a:ext cx="1417719" cy="1417719"/>
            </a:xfrm>
            <a:prstGeom prst="rect">
              <a:avLst/>
            </a:prstGeom>
            <a:grpFill/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60697" y="6459123"/>
              <a:ext cx="805963" cy="1397001"/>
            </a:xfrm>
            <a:prstGeom prst="rect">
              <a:avLst/>
            </a:prstGeom>
            <a:grpFill/>
          </p:spPr>
        </p:pic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14" cstate="print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71193" y="2992626"/>
              <a:ext cx="1299796" cy="1299796"/>
            </a:xfrm>
            <a:prstGeom prst="rect">
              <a:avLst/>
            </a:prstGeom>
            <a:grpFill/>
          </p:spPr>
        </p:pic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6" cstate="print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307293">
              <a:off x="9325641" y="2690032"/>
              <a:ext cx="1536291" cy="1402842"/>
            </a:xfrm>
            <a:prstGeom prst="rect">
              <a:avLst/>
            </a:prstGeom>
            <a:grpFill/>
          </p:spPr>
        </p:pic>
        <p:cxnSp>
          <p:nvCxnSpPr>
            <p:cNvPr id="22" name="Straight Connector 21"/>
            <p:cNvCxnSpPr/>
            <p:nvPr/>
          </p:nvCxnSpPr>
          <p:spPr bwMode="auto">
            <a:xfrm>
              <a:off x="5480951" y="4040853"/>
              <a:ext cx="2189849" cy="1070918"/>
            </a:xfrm>
            <a:prstGeom prst="lin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3" name="Straight Connector 22"/>
            <p:cNvCxnSpPr/>
            <p:nvPr/>
          </p:nvCxnSpPr>
          <p:spPr bwMode="auto">
            <a:xfrm flipV="1">
              <a:off x="5243029" y="4926397"/>
              <a:ext cx="2029945" cy="1420411"/>
            </a:xfrm>
            <a:prstGeom prst="lin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" name="Straight Connector 23"/>
            <p:cNvCxnSpPr/>
            <p:nvPr/>
          </p:nvCxnSpPr>
          <p:spPr bwMode="auto">
            <a:xfrm flipV="1">
              <a:off x="6681370" y="5049095"/>
              <a:ext cx="485290" cy="2224302"/>
            </a:xfrm>
            <a:prstGeom prst="lin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" name="Straight Connector 24"/>
            <p:cNvCxnSpPr/>
            <p:nvPr/>
          </p:nvCxnSpPr>
          <p:spPr bwMode="auto">
            <a:xfrm>
              <a:off x="10275403" y="3535304"/>
              <a:ext cx="2283903" cy="1974801"/>
            </a:xfrm>
            <a:prstGeom prst="lin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" name="Straight Connector 25"/>
            <p:cNvCxnSpPr/>
            <p:nvPr/>
          </p:nvCxnSpPr>
          <p:spPr bwMode="auto">
            <a:xfrm flipH="1">
              <a:off x="12693495" y="4194474"/>
              <a:ext cx="367990" cy="1304316"/>
            </a:xfrm>
            <a:prstGeom prst="lin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26"/>
            <p:cNvCxnSpPr/>
            <p:nvPr/>
          </p:nvCxnSpPr>
          <p:spPr bwMode="auto">
            <a:xfrm flipH="1">
              <a:off x="11255632" y="5593651"/>
              <a:ext cx="1329521" cy="865472"/>
            </a:xfrm>
            <a:prstGeom prst="lin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8" name="Straight Connector 27"/>
            <p:cNvCxnSpPr/>
            <p:nvPr/>
          </p:nvCxnSpPr>
          <p:spPr bwMode="auto">
            <a:xfrm flipH="1" flipV="1">
              <a:off x="12594896" y="5593651"/>
              <a:ext cx="382967" cy="1291095"/>
            </a:xfrm>
            <a:prstGeom prst="lin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28"/>
            <p:cNvCxnSpPr/>
            <p:nvPr/>
          </p:nvCxnSpPr>
          <p:spPr bwMode="auto">
            <a:xfrm flipH="1" flipV="1">
              <a:off x="11528154" y="6778520"/>
              <a:ext cx="1349336" cy="103021"/>
            </a:xfrm>
            <a:prstGeom prst="lin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66910" y="4105395"/>
              <a:ext cx="3839165" cy="2562643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6220342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2037" y="1296585"/>
            <a:ext cx="1971963" cy="1928528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3" name="Slide Number Placeholder 3"/>
          <p:cNvSpPr txBox="1">
            <a:spLocks/>
          </p:cNvSpPr>
          <p:nvPr/>
        </p:nvSpPr>
        <p:spPr>
          <a:xfrm>
            <a:off x="6872352" y="4842143"/>
            <a:ext cx="2133600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Intel Clear Light" panose="020B0404020203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E2556C5-CE8C-6547-B838-EA80C61A4AF7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94974" y="19457"/>
            <a:ext cx="8229600" cy="516430"/>
          </a:xfrm>
          <a:noFill/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b="1" dirty="0" smtClean="0">
                <a:solidFill>
                  <a:srgbClr val="0071C5"/>
                </a:solidFill>
                <a:latin typeface="+mn-lt"/>
                <a:cs typeface="Intel Clear" panose="020B0604020203020204" pitchFamily="34" charset="0"/>
              </a:rPr>
              <a:t>Resources</a:t>
            </a:r>
            <a:endParaRPr lang="en-US" b="1" dirty="0">
              <a:solidFill>
                <a:srgbClr val="FF0000"/>
              </a:solidFill>
              <a:latin typeface="+mn-lt"/>
              <a:cs typeface="Intel Clear" panose="020B0604020203020204" pitchFamily="34" charset="0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sz="quarter" idx="13"/>
          </p:nvPr>
        </p:nvSpPr>
        <p:spPr>
          <a:xfrm>
            <a:off x="0" y="753762"/>
            <a:ext cx="9005952" cy="3620529"/>
          </a:xfrm>
        </p:spPr>
        <p:txBody>
          <a:bodyPr/>
          <a:lstStyle/>
          <a:p>
            <a:pPr lvl="2">
              <a:spcBef>
                <a:spcPts val="300"/>
              </a:spcBef>
              <a:spcAft>
                <a:spcPts val="300"/>
              </a:spcAft>
            </a:pPr>
            <a:r>
              <a:rPr lang="en-GB" sz="1800" dirty="0" smtClean="0">
                <a:solidFill>
                  <a:schemeClr val="tx1"/>
                </a:solidFill>
              </a:rPr>
              <a:t>Intel</a:t>
            </a:r>
            <a:r>
              <a:rPr lang="en-GB" sz="1800" dirty="0">
                <a:solidFill>
                  <a:schemeClr val="tx1"/>
                </a:solidFill>
              </a:rPr>
              <a:t>® </a:t>
            </a:r>
            <a:r>
              <a:rPr lang="en-GB" sz="1800" dirty="0" smtClean="0">
                <a:solidFill>
                  <a:schemeClr val="tx1"/>
                </a:solidFill>
              </a:rPr>
              <a:t>Edison: </a:t>
            </a:r>
            <a:r>
              <a:rPr lang="en-GB" dirty="0">
                <a:solidFill>
                  <a:schemeClr val="tx1"/>
                </a:solidFill>
                <a:hlinkClick r:id="rId4"/>
              </a:rPr>
              <a:t>http://</a:t>
            </a:r>
            <a:r>
              <a:rPr lang="en-GB" dirty="0" smtClean="0">
                <a:solidFill>
                  <a:schemeClr val="tx1"/>
                </a:solidFill>
                <a:hlinkClick r:id="rId4"/>
              </a:rPr>
              <a:t>www.intel.com/content/www/us/en/do-it-yourself/edison.html</a:t>
            </a:r>
            <a:r>
              <a:rPr lang="en-GB" dirty="0" smtClean="0">
                <a:solidFill>
                  <a:schemeClr val="tx1"/>
                </a:solidFill>
              </a:rPr>
              <a:t> </a:t>
            </a:r>
            <a:endParaRPr lang="en-GB" dirty="0">
              <a:solidFill>
                <a:schemeClr val="tx1"/>
              </a:solidFill>
            </a:endParaRPr>
          </a:p>
          <a:p>
            <a:pPr lvl="2">
              <a:spcBef>
                <a:spcPts val="300"/>
              </a:spcBef>
              <a:spcAft>
                <a:spcPts val="300"/>
              </a:spcAft>
            </a:pPr>
            <a:r>
              <a:rPr lang="en-GB" sz="1800" dirty="0" smtClean="0">
                <a:solidFill>
                  <a:schemeClr val="tx1"/>
                </a:solidFill>
              </a:rPr>
              <a:t>IoT Developer Zone : </a:t>
            </a:r>
            <a:r>
              <a:rPr lang="en-GB" sz="1800" dirty="0" smtClean="0">
                <a:solidFill>
                  <a:schemeClr val="tx1"/>
                </a:solidFill>
                <a:hlinkClick r:id="rId5"/>
              </a:rPr>
              <a:t>https</a:t>
            </a:r>
            <a:r>
              <a:rPr lang="en-GB" sz="1800" dirty="0">
                <a:solidFill>
                  <a:schemeClr val="tx1"/>
                </a:solidFill>
                <a:hlinkClick r:id="rId5"/>
              </a:rPr>
              <a:t>://</a:t>
            </a:r>
            <a:r>
              <a:rPr lang="en-GB" sz="1800" dirty="0" smtClean="0">
                <a:solidFill>
                  <a:schemeClr val="tx1"/>
                </a:solidFill>
                <a:hlinkClick r:id="rId5"/>
              </a:rPr>
              <a:t>software.intel.com/en-us/iot</a:t>
            </a:r>
            <a:r>
              <a:rPr lang="en-GB" sz="1800" dirty="0" smtClean="0">
                <a:solidFill>
                  <a:schemeClr val="tx1"/>
                </a:solidFill>
              </a:rPr>
              <a:t> </a:t>
            </a:r>
          </a:p>
          <a:p>
            <a:pPr lvl="2">
              <a:spcBef>
                <a:spcPts val="300"/>
              </a:spcBef>
              <a:spcAft>
                <a:spcPts val="300"/>
              </a:spcAft>
            </a:pPr>
            <a:r>
              <a:rPr lang="en-GB" sz="1800" dirty="0" smtClean="0">
                <a:solidFill>
                  <a:schemeClr val="tx1"/>
                </a:solidFill>
              </a:rPr>
              <a:t>libmraa</a:t>
            </a:r>
            <a:r>
              <a:rPr lang="en-GB" sz="1800" dirty="0">
                <a:solidFill>
                  <a:schemeClr val="tx1"/>
                </a:solidFill>
              </a:rPr>
              <a:t>:</a:t>
            </a:r>
            <a:r>
              <a:rPr lang="en-GB" sz="1800" dirty="0"/>
              <a:t> </a:t>
            </a:r>
            <a:r>
              <a:rPr lang="en-GB" sz="1800" dirty="0">
                <a:solidFill>
                  <a:schemeClr val="tx1"/>
                </a:solidFill>
                <a:hlinkClick r:id="rId6"/>
              </a:rPr>
              <a:t>https://github.com/intel-iot-devkit/mraa</a:t>
            </a:r>
            <a:r>
              <a:rPr lang="en-GB" sz="1800" dirty="0">
                <a:solidFill>
                  <a:schemeClr val="tx1"/>
                </a:solidFill>
              </a:rPr>
              <a:t> </a:t>
            </a:r>
          </a:p>
          <a:p>
            <a:pPr lvl="2">
              <a:spcBef>
                <a:spcPts val="300"/>
              </a:spcBef>
              <a:spcAft>
                <a:spcPts val="300"/>
              </a:spcAft>
            </a:pPr>
            <a:r>
              <a:rPr lang="en-GB" sz="1800" dirty="0">
                <a:solidFill>
                  <a:schemeClr val="tx1"/>
                </a:solidFill>
              </a:rPr>
              <a:t>UPM: </a:t>
            </a:r>
            <a:r>
              <a:rPr lang="en-GB" sz="1800" dirty="0">
                <a:solidFill>
                  <a:schemeClr val="tx1"/>
                </a:solidFill>
                <a:hlinkClick r:id="rId7"/>
              </a:rPr>
              <a:t>https://github.com/intel-iot-devkit/upm</a:t>
            </a:r>
            <a:r>
              <a:rPr lang="en-GB" sz="1800" dirty="0">
                <a:solidFill>
                  <a:schemeClr val="tx1"/>
                </a:solidFill>
              </a:rPr>
              <a:t> </a:t>
            </a:r>
            <a:endParaRPr lang="en-GB" sz="1800" dirty="0" smtClean="0">
              <a:solidFill>
                <a:schemeClr val="tx1"/>
              </a:solidFill>
            </a:endParaRPr>
          </a:p>
          <a:p>
            <a:pPr lvl="2">
              <a:spcBef>
                <a:spcPts val="300"/>
              </a:spcBef>
            </a:pPr>
            <a:r>
              <a:rPr lang="en-GB" sz="1800" dirty="0">
                <a:solidFill>
                  <a:schemeClr val="tx1"/>
                </a:solidFill>
              </a:rPr>
              <a:t>Documentation: </a:t>
            </a:r>
            <a:endParaRPr lang="en-GB" sz="1800" dirty="0" smtClean="0">
              <a:solidFill>
                <a:schemeClr val="tx1"/>
              </a:solidFill>
            </a:endParaRPr>
          </a:p>
          <a:p>
            <a:pPr marL="901700" lvl="3" indent="-358775">
              <a:spcBef>
                <a:spcPts val="200"/>
              </a:spcBef>
              <a:spcAft>
                <a:spcPts val="300"/>
              </a:spcAft>
              <a:buFont typeface="+mj-lt"/>
              <a:buAutoNum type="arabicParenR"/>
            </a:pPr>
            <a:r>
              <a:rPr lang="en-GB" sz="1600" dirty="0" smtClean="0">
                <a:solidFill>
                  <a:schemeClr val="tx1"/>
                </a:solidFill>
              </a:rPr>
              <a:t>Libmraa: </a:t>
            </a:r>
            <a:r>
              <a:rPr lang="en-GB" sz="1600" dirty="0" smtClean="0">
                <a:solidFill>
                  <a:schemeClr val="tx1"/>
                </a:solidFill>
                <a:hlinkClick r:id="rId8"/>
              </a:rPr>
              <a:t>http</a:t>
            </a:r>
            <a:r>
              <a:rPr lang="en-GB" sz="1600" dirty="0">
                <a:solidFill>
                  <a:schemeClr val="tx1"/>
                </a:solidFill>
                <a:hlinkClick r:id="rId8"/>
              </a:rPr>
              <a:t>://iotdk.intel.com/docs/master/mraa</a:t>
            </a:r>
            <a:r>
              <a:rPr lang="en-GB" sz="1600" dirty="0" smtClean="0">
                <a:solidFill>
                  <a:schemeClr val="tx1"/>
                </a:solidFill>
                <a:hlinkClick r:id="rId8"/>
              </a:rPr>
              <a:t>/</a:t>
            </a:r>
            <a:endParaRPr lang="en-GB" sz="1600" dirty="0" smtClean="0">
              <a:solidFill>
                <a:schemeClr val="tx1"/>
              </a:solidFill>
            </a:endParaRPr>
          </a:p>
          <a:p>
            <a:pPr marL="901700" lvl="3" indent="-358775">
              <a:spcBef>
                <a:spcPts val="200"/>
              </a:spcBef>
              <a:spcAft>
                <a:spcPts val="300"/>
              </a:spcAft>
              <a:buFont typeface="+mj-lt"/>
              <a:buAutoNum type="arabicParenR"/>
            </a:pPr>
            <a:r>
              <a:rPr lang="en-GB" sz="1600" dirty="0" smtClean="0">
                <a:solidFill>
                  <a:schemeClr val="tx1"/>
                </a:solidFill>
              </a:rPr>
              <a:t>UPM:  </a:t>
            </a:r>
            <a:r>
              <a:rPr lang="en-GB" sz="1600" dirty="0" smtClean="0">
                <a:solidFill>
                  <a:schemeClr val="tx1"/>
                </a:solidFill>
                <a:hlinkClick r:id="rId9"/>
              </a:rPr>
              <a:t>http</a:t>
            </a:r>
            <a:r>
              <a:rPr lang="en-GB" sz="1600" dirty="0">
                <a:solidFill>
                  <a:schemeClr val="tx1"/>
                </a:solidFill>
                <a:hlinkClick r:id="rId9"/>
              </a:rPr>
              <a:t>://</a:t>
            </a:r>
            <a:r>
              <a:rPr lang="en-GB" sz="1600" dirty="0" smtClean="0">
                <a:solidFill>
                  <a:schemeClr val="tx1"/>
                </a:solidFill>
                <a:hlinkClick r:id="rId9"/>
              </a:rPr>
              <a:t>iotdk.intel.com/docs/master/upm</a:t>
            </a:r>
            <a:r>
              <a:rPr lang="en-GB" sz="1600" dirty="0" smtClean="0">
                <a:solidFill>
                  <a:schemeClr val="tx1"/>
                </a:solidFill>
              </a:rPr>
              <a:t> </a:t>
            </a:r>
          </a:p>
          <a:p>
            <a:pPr marL="901700" lvl="3" indent="-358775">
              <a:spcBef>
                <a:spcPts val="200"/>
              </a:spcBef>
              <a:spcAft>
                <a:spcPts val="300"/>
              </a:spcAft>
              <a:buFont typeface="+mj-lt"/>
              <a:buAutoNum type="arabicParenR"/>
            </a:pPr>
            <a:r>
              <a:rPr lang="en-GB" sz="1600" dirty="0">
                <a:solidFill>
                  <a:schemeClr val="tx1"/>
                </a:solidFill>
              </a:rPr>
              <a:t>NodeJS: </a:t>
            </a:r>
            <a:r>
              <a:rPr lang="en-GB" sz="1600" dirty="0">
                <a:solidFill>
                  <a:schemeClr val="tx1"/>
                </a:solidFill>
                <a:hlinkClick r:id="rId10"/>
              </a:rPr>
              <a:t>https://</a:t>
            </a:r>
            <a:r>
              <a:rPr lang="en-GB" sz="1600" dirty="0" smtClean="0">
                <a:solidFill>
                  <a:schemeClr val="tx1"/>
                </a:solidFill>
                <a:hlinkClick r:id="rId10"/>
              </a:rPr>
              <a:t>www.npmjs.org/package/mraa</a:t>
            </a:r>
            <a:r>
              <a:rPr lang="en-GB" sz="1600" dirty="0" smtClean="0">
                <a:solidFill>
                  <a:schemeClr val="tx1"/>
                </a:solidFill>
              </a:rPr>
              <a:t> </a:t>
            </a:r>
            <a:endParaRPr lang="en-GB" sz="1600" dirty="0">
              <a:solidFill>
                <a:schemeClr val="tx1"/>
              </a:solidFill>
            </a:endParaRPr>
          </a:p>
          <a:p>
            <a:pPr marL="901700" lvl="3" indent="-358775">
              <a:spcBef>
                <a:spcPts val="200"/>
              </a:spcBef>
              <a:spcAft>
                <a:spcPts val="300"/>
              </a:spcAft>
              <a:buFont typeface="+mj-lt"/>
              <a:buAutoNum type="arabicParenR"/>
            </a:pPr>
            <a:r>
              <a:rPr lang="en-GB" sz="1600" dirty="0">
                <a:solidFill>
                  <a:schemeClr val="tx1"/>
                </a:solidFill>
              </a:rPr>
              <a:t>Python: </a:t>
            </a:r>
            <a:r>
              <a:rPr lang="en-GB" sz="1600" dirty="0">
                <a:solidFill>
                  <a:schemeClr val="tx1"/>
                </a:solidFill>
                <a:hlinkClick r:id="rId11"/>
              </a:rPr>
              <a:t>http://</a:t>
            </a:r>
            <a:r>
              <a:rPr lang="en-GB" sz="1600" dirty="0" smtClean="0">
                <a:solidFill>
                  <a:schemeClr val="tx1"/>
                </a:solidFill>
                <a:hlinkClick r:id="rId11"/>
              </a:rPr>
              <a:t>iotdk.intel.com/docs/master/mraa/python</a:t>
            </a:r>
            <a:r>
              <a:rPr lang="en-GB" sz="1600" dirty="0" smtClean="0">
                <a:solidFill>
                  <a:schemeClr val="tx1"/>
                </a:solidFill>
              </a:rPr>
              <a:t> </a:t>
            </a:r>
          </a:p>
          <a:p>
            <a:pPr marL="901700" lvl="3" indent="-358775">
              <a:spcBef>
                <a:spcPts val="200"/>
              </a:spcBef>
              <a:spcAft>
                <a:spcPts val="300"/>
              </a:spcAft>
              <a:buFont typeface="+mj-lt"/>
              <a:buAutoNum type="arabicParenR"/>
            </a:pPr>
            <a:r>
              <a:rPr lang="en-GB" sz="1600" dirty="0">
                <a:solidFill>
                  <a:schemeClr val="tx1"/>
                </a:solidFill>
              </a:rPr>
              <a:t>Cloud Analytics: </a:t>
            </a:r>
            <a:r>
              <a:rPr lang="en-GB" sz="1200" dirty="0">
                <a:solidFill>
                  <a:schemeClr val="tx1"/>
                </a:solidFill>
                <a:hlinkClick r:id="rId12"/>
              </a:rPr>
              <a:t>https://</a:t>
            </a:r>
            <a:r>
              <a:rPr lang="en-GB" sz="1200" dirty="0" smtClean="0">
                <a:solidFill>
                  <a:schemeClr val="tx1"/>
                </a:solidFill>
                <a:hlinkClick r:id="rId12"/>
              </a:rPr>
              <a:t>software.intel.com/en-us/intel-iot-developer-kit-cloud-based-analytics-user-guide</a:t>
            </a:r>
            <a:r>
              <a:rPr lang="en-GB" sz="1200" dirty="0" smtClean="0">
                <a:solidFill>
                  <a:schemeClr val="tx1"/>
                </a:solidFill>
              </a:rPr>
              <a:t> </a:t>
            </a:r>
            <a:endParaRPr lang="en-GB" sz="1600" dirty="0">
              <a:solidFill>
                <a:schemeClr val="tx1"/>
              </a:solidFill>
            </a:endParaRPr>
          </a:p>
          <a:p>
            <a:pPr lvl="2"/>
            <a:endParaRPr lang="en-US" sz="2400" dirty="0" smtClean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691251" y="0"/>
            <a:ext cx="7835231" cy="4621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1200"/>
              </a:spcBef>
            </a:pPr>
            <a:endParaRPr lang="en-US" sz="3200" b="1" dirty="0">
              <a:solidFill>
                <a:srgbClr val="0071C5"/>
              </a:solidFill>
              <a:latin typeface="+mn-lt"/>
              <a:ea typeface="+mn-ea"/>
              <a:cs typeface="Intel Clear" panose="020B0604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8356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5760" y="2598463"/>
            <a:ext cx="2604864" cy="234003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47128" y="44171"/>
            <a:ext cx="1533943" cy="1564816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Slide Number Placeholder 3"/>
          <p:cNvSpPr txBox="1">
            <a:spLocks/>
          </p:cNvSpPr>
          <p:nvPr/>
        </p:nvSpPr>
        <p:spPr>
          <a:xfrm>
            <a:off x="6872352" y="4842143"/>
            <a:ext cx="2133600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Intel Clear Light" panose="020B0404020203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E2556C5-CE8C-6547-B838-EA80C61A4AF7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96882" y="125576"/>
            <a:ext cx="8229600" cy="516430"/>
          </a:xfrm>
          <a:noFill/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b="1" dirty="0" smtClean="0">
                <a:solidFill>
                  <a:srgbClr val="0071C5"/>
                </a:solidFill>
                <a:latin typeface="+mn-lt"/>
                <a:cs typeface="Intel Clear" panose="020B0604020203020204" pitchFamily="34" charset="0"/>
              </a:rPr>
              <a:t>Next steps</a:t>
            </a:r>
            <a:endParaRPr lang="en-US" b="1" dirty="0">
              <a:solidFill>
                <a:srgbClr val="FF0000"/>
              </a:solidFill>
              <a:latin typeface="+mn-lt"/>
              <a:cs typeface="Intel Clear" panose="020B0604020203020204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691251" y="0"/>
            <a:ext cx="7835231" cy="4621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1200"/>
              </a:spcBef>
            </a:pPr>
            <a:endParaRPr lang="en-US" sz="3200" b="1" dirty="0">
              <a:solidFill>
                <a:srgbClr val="0071C5"/>
              </a:solidFill>
              <a:latin typeface="+mn-lt"/>
              <a:ea typeface="+mn-ea"/>
              <a:cs typeface="Intel Clear" panose="020B0604020203020204" pitchFamily="34" charset="0"/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0" y="767582"/>
            <a:ext cx="8266670" cy="22141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None/>
              <a:defRPr sz="1800" b="0" kern="1200">
                <a:solidFill>
                  <a:srgbClr val="0071C5"/>
                </a:solidFill>
                <a:latin typeface="+mn-lt"/>
                <a:ea typeface="+mn-ea"/>
                <a:cs typeface="Intel Clear" panose="020B0604020203020204" pitchFamily="34" charset="0"/>
              </a:defRPr>
            </a:lvl1pPr>
            <a:lvl2pPr marL="225425" indent="-225425" algn="l" defTabSz="457200" rtl="0" eaLnBrk="1" latinLnBrk="0" hangingPunct="1">
              <a:spcBef>
                <a:spcPts val="1200"/>
              </a:spcBef>
              <a:buFont typeface="Wingdings" charset="2"/>
              <a:buChar char="§"/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Intel Clear" panose="020B0604020203020204" pitchFamily="34" charset="0"/>
              </a:defRPr>
            </a:lvl2pPr>
            <a:lvl3pPr marL="571500" indent="-228600" algn="l" defTabSz="457200" rtl="0" eaLnBrk="1" latinLnBrk="0" hangingPunct="1">
              <a:spcBef>
                <a:spcPts val="800"/>
              </a:spcBef>
              <a:buFont typeface="Wingdings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Intel Clear" panose="020B0604020203020204" pitchFamily="34" charset="0"/>
              </a:defRPr>
            </a:lvl3pPr>
            <a:lvl4pPr marL="969963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Intel Clear" panose="020B0604020203020204" pitchFamily="34" charset="0"/>
              </a:defRPr>
            </a:lvl4pPr>
            <a:lvl5pPr marL="1319213" indent="-228600" algn="l" defTabSz="457200" rtl="0" eaLnBrk="1" latinLnBrk="0" hangingPunct="1">
              <a:spcBef>
                <a:spcPct val="20000"/>
              </a:spcBef>
              <a:buFont typeface="Intel Clear" panose="020B0604020203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Intel Clear" panose="020B0604020203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-385763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GB" b="1" dirty="0" smtClean="0">
                <a:solidFill>
                  <a:schemeClr val="tx1"/>
                </a:solidFill>
              </a:rPr>
              <a:t>Visit Hackfest Github</a:t>
            </a:r>
            <a:r>
              <a:rPr lang="en-GB" dirty="0" smtClean="0">
                <a:solidFill>
                  <a:schemeClr val="tx1"/>
                </a:solidFill>
              </a:rPr>
              <a:t>: </a:t>
            </a:r>
            <a:r>
              <a:rPr lang="en-GB" sz="1500" b="1" dirty="0" smtClean="0">
                <a:solidFill>
                  <a:schemeClr val="tx1"/>
                </a:solidFill>
                <a:hlinkClick r:id="rId5"/>
              </a:rPr>
              <a:t>https</a:t>
            </a:r>
            <a:r>
              <a:rPr lang="en-GB" sz="1500" b="1" dirty="0">
                <a:solidFill>
                  <a:schemeClr val="tx1"/>
                </a:solidFill>
                <a:hlinkClick r:id="rId5"/>
              </a:rPr>
              <a:t>://</a:t>
            </a:r>
            <a:r>
              <a:rPr lang="en-GB" sz="1500" b="1" dirty="0" smtClean="0">
                <a:solidFill>
                  <a:schemeClr val="tx1"/>
                </a:solidFill>
                <a:hlinkClick r:id="rId5"/>
              </a:rPr>
              <a:t>github.com/srware/wearable_technology_show_2015</a:t>
            </a:r>
            <a:endParaRPr lang="en-GB" sz="1500" b="1" dirty="0" smtClean="0">
              <a:solidFill>
                <a:schemeClr val="tx1"/>
              </a:solidFill>
            </a:endParaRPr>
          </a:p>
          <a:p>
            <a:pPr lvl="2" indent="-385763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GB" b="1" dirty="0" smtClean="0">
                <a:solidFill>
                  <a:schemeClr val="tx1"/>
                </a:solidFill>
              </a:rPr>
              <a:t>Develop &amp; exhibit your demo - your </a:t>
            </a:r>
            <a:r>
              <a:rPr lang="en-US" b="1" dirty="0" smtClean="0">
                <a:solidFill>
                  <a:schemeClr val="tx1"/>
                </a:solidFill>
              </a:rPr>
              <a:t>IoT/ Wearable solution should be:</a:t>
            </a:r>
            <a:endParaRPr lang="en-GB" b="1" dirty="0">
              <a:solidFill>
                <a:schemeClr val="tx1"/>
              </a:solidFill>
            </a:endParaRPr>
          </a:p>
          <a:p>
            <a:pPr marL="920750" lvl="4" indent="-290513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GB" b="1" dirty="0" smtClean="0">
                <a:solidFill>
                  <a:schemeClr val="tx1"/>
                </a:solidFill>
              </a:rPr>
              <a:t>Innovative </a:t>
            </a:r>
          </a:p>
          <a:p>
            <a:pPr marL="920750" lvl="4" indent="-290513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GB" b="1" dirty="0" smtClean="0">
                <a:solidFill>
                  <a:schemeClr val="tx1"/>
                </a:solidFill>
              </a:rPr>
              <a:t>Business viable / sustainable.</a:t>
            </a:r>
          </a:p>
          <a:p>
            <a:pPr marL="920750" lvl="4" indent="-290513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GB" b="1" dirty="0" smtClean="0">
                <a:solidFill>
                  <a:schemeClr val="tx1"/>
                </a:solidFill>
              </a:rPr>
              <a:t>Using Intel® </a:t>
            </a:r>
            <a:r>
              <a:rPr lang="en-GB" b="1" dirty="0">
                <a:solidFill>
                  <a:schemeClr val="tx1"/>
                </a:solidFill>
              </a:rPr>
              <a:t>Edison </a:t>
            </a:r>
            <a:r>
              <a:rPr lang="en-GB" b="1" dirty="0" smtClean="0">
                <a:solidFill>
                  <a:schemeClr val="tx1"/>
                </a:solidFill>
              </a:rPr>
              <a:t>key </a:t>
            </a:r>
            <a:r>
              <a:rPr lang="en-GB" b="1" dirty="0">
                <a:solidFill>
                  <a:schemeClr val="tx1"/>
                </a:solidFill>
              </a:rPr>
              <a:t>features (performance, </a:t>
            </a:r>
            <a:r>
              <a:rPr lang="en-GB" b="1" dirty="0" smtClean="0">
                <a:solidFill>
                  <a:schemeClr val="tx1"/>
                </a:solidFill>
              </a:rPr>
              <a:t>Wi-Fi </a:t>
            </a:r>
            <a:r>
              <a:rPr lang="en-GB" b="1" dirty="0">
                <a:solidFill>
                  <a:schemeClr val="tx1"/>
                </a:solidFill>
              </a:rPr>
              <a:t>/ BTLE connectivity, small size). </a:t>
            </a:r>
            <a:endParaRPr lang="en-GB" sz="1200" b="1" dirty="0" smtClean="0">
              <a:solidFill>
                <a:schemeClr val="tx1"/>
              </a:solidFill>
            </a:endParaRPr>
          </a:p>
          <a:p>
            <a:pPr lvl="2" indent="-385763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GB" b="1" dirty="0" smtClean="0">
                <a:solidFill>
                  <a:schemeClr val="tx1"/>
                </a:solidFill>
              </a:rPr>
              <a:t>Wed-11-Mar @ 15:00 every team will get 5 minutes to exhibit the demo.</a:t>
            </a:r>
          </a:p>
          <a:p>
            <a:pPr lvl="2" indent="-385763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GB" b="1" dirty="0" smtClean="0">
                <a:solidFill>
                  <a:schemeClr val="tx1"/>
                </a:solidFill>
              </a:rPr>
              <a:t>Win awesome prizes </a:t>
            </a:r>
            <a:r>
              <a:rPr lang="en-GB" b="1" dirty="0">
                <a:solidFill>
                  <a:schemeClr val="tx1"/>
                </a:solidFill>
              </a:rPr>
              <a:t>Wed-11-Mar </a:t>
            </a:r>
            <a:r>
              <a:rPr lang="en-GB" b="1" dirty="0" smtClean="0">
                <a:solidFill>
                  <a:schemeClr val="tx1"/>
                </a:solidFill>
              </a:rPr>
              <a:t> ~16:00 </a:t>
            </a:r>
            <a:r>
              <a:rPr lang="en-GB" sz="2400" b="1" dirty="0" smtClean="0">
                <a:solidFill>
                  <a:srgbClr val="0000FF"/>
                </a:solidFill>
                <a:sym typeface="Webdings" panose="05030102010509060703" pitchFamily="18" charset="2"/>
              </a:rPr>
              <a:t> </a:t>
            </a:r>
            <a:endParaRPr lang="en-GB" b="1" dirty="0" smtClean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610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589" y="123655"/>
            <a:ext cx="8550339" cy="420357"/>
          </a:xfrm>
        </p:spPr>
        <p:txBody>
          <a:bodyPr/>
          <a:lstStyle/>
          <a:p>
            <a:r>
              <a:rPr lang="en-GB" b="1" dirty="0" smtClean="0"/>
              <a:t>We’d Love To See You Again…Maker Fairs/</a:t>
            </a:r>
            <a:r>
              <a:rPr lang="en-GB" b="1" dirty="0" err="1" smtClean="0"/>
              <a:t>Hackfests</a:t>
            </a:r>
            <a:endParaRPr lang="en-US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17</a:t>
            </a:fld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3739716"/>
              </p:ext>
            </p:extLst>
          </p:nvPr>
        </p:nvGraphicFramePr>
        <p:xfrm>
          <a:off x="957631" y="860384"/>
          <a:ext cx="6704810" cy="24184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6739"/>
                <a:gridCol w="2060293"/>
                <a:gridCol w="1747778"/>
              </a:tblGrid>
              <a:tr h="331808"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Even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Whe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Where</a:t>
                      </a:r>
                      <a:endParaRPr lang="en-US" dirty="0"/>
                    </a:p>
                  </a:txBody>
                  <a:tcPr/>
                </a:tc>
              </a:tr>
              <a:tr h="470767">
                <a:tc>
                  <a:txBody>
                    <a:bodyPr/>
                    <a:lstStyle/>
                    <a:p>
                      <a:r>
                        <a:rPr lang="en-US" dirty="0" smtClean="0"/>
                        <a:t>Make ‘n’ break Hackathon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28-29</a:t>
                      </a:r>
                      <a:r>
                        <a:rPr lang="en-GB" baseline="0" dirty="0" smtClean="0"/>
                        <a:t> Marc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Bucharest</a:t>
                      </a:r>
                      <a:endParaRPr lang="en-US" dirty="0"/>
                    </a:p>
                  </a:txBody>
                  <a:tcPr/>
                </a:tc>
              </a:tr>
              <a:tr h="484691">
                <a:tc>
                  <a:txBody>
                    <a:bodyPr/>
                    <a:lstStyle/>
                    <a:p>
                      <a:r>
                        <a:rPr lang="en-GB" dirty="0" smtClean="0"/>
                        <a:t>Maker Faire Pari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-3 May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Paris</a:t>
                      </a:r>
                      <a:endParaRPr lang="en-US" dirty="0"/>
                    </a:p>
                  </a:txBody>
                  <a:tcPr/>
                </a:tc>
              </a:tr>
              <a:tr h="362407">
                <a:tc>
                  <a:txBody>
                    <a:bodyPr/>
                    <a:lstStyle/>
                    <a:p>
                      <a:r>
                        <a:rPr lang="en-US" dirty="0" smtClean="0"/>
                        <a:t>Maker Fare Dubli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25 July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Dublin</a:t>
                      </a:r>
                      <a:endParaRPr lang="en-US" dirty="0"/>
                    </a:p>
                  </a:txBody>
                  <a:tcPr/>
                </a:tc>
              </a:tr>
              <a:tr h="362407">
                <a:tc>
                  <a:txBody>
                    <a:bodyPr/>
                    <a:lstStyle/>
                    <a:p>
                      <a:r>
                        <a:rPr lang="en-GB" dirty="0" smtClean="0"/>
                        <a:t>Maker Faire Ro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6-18 Octo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Rome</a:t>
                      </a:r>
                      <a:endParaRPr lang="en-US" dirty="0"/>
                    </a:p>
                  </a:txBody>
                  <a:tcPr/>
                </a:tc>
              </a:tr>
              <a:tr h="362407">
                <a:tc>
                  <a:txBody>
                    <a:bodyPr/>
                    <a:lstStyle/>
                    <a:p>
                      <a:r>
                        <a:rPr lang="en-GB" dirty="0" err="1" smtClean="0"/>
                        <a:t>CodeMo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9-12 Apri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Milan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122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18</a:t>
            </a:fld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1734360"/>
              </p:ext>
            </p:extLst>
          </p:nvPr>
        </p:nvGraphicFramePr>
        <p:xfrm>
          <a:off x="675532" y="922721"/>
          <a:ext cx="7669815" cy="31301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2458"/>
                <a:gridCol w="2106592"/>
                <a:gridCol w="2210765"/>
              </a:tblGrid>
              <a:tr h="435956"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Even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Whe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Where</a:t>
                      </a:r>
                      <a:endParaRPr lang="en-US" dirty="0"/>
                    </a:p>
                  </a:txBody>
                  <a:tcPr/>
                </a:tc>
              </a:tr>
              <a:tr h="344208">
                <a:tc>
                  <a:txBody>
                    <a:bodyPr/>
                    <a:lstStyle/>
                    <a:p>
                      <a:r>
                        <a:rPr lang="en-GB" dirty="0" smtClean="0"/>
                        <a:t>Intel </a:t>
                      </a:r>
                      <a:r>
                        <a:rPr lang="en-GB" dirty="0" err="1" smtClean="0"/>
                        <a:t>IoT</a:t>
                      </a:r>
                      <a:r>
                        <a:rPr lang="en-GB" dirty="0" smtClean="0"/>
                        <a:t> Roadshow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Mar 14 - 1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Milan</a:t>
                      </a:r>
                      <a:endParaRPr lang="en-US" dirty="0"/>
                    </a:p>
                  </a:txBody>
                  <a:tcPr/>
                </a:tc>
              </a:tr>
              <a:tr h="344208">
                <a:tc>
                  <a:txBody>
                    <a:bodyPr/>
                    <a:lstStyle/>
                    <a:p>
                      <a:r>
                        <a:rPr lang="en-GB" dirty="0" smtClean="0"/>
                        <a:t>CeB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Mar 16 - 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Hannover</a:t>
                      </a:r>
                      <a:endParaRPr lang="en-US" dirty="0"/>
                    </a:p>
                  </a:txBody>
                  <a:tcPr/>
                </a:tc>
              </a:tr>
              <a:tr h="378333">
                <a:tc>
                  <a:txBody>
                    <a:bodyPr/>
                    <a:lstStyle/>
                    <a:p>
                      <a:r>
                        <a:rPr lang="en-GB" dirty="0" smtClean="0"/>
                        <a:t>Internet</a:t>
                      </a:r>
                      <a:r>
                        <a:rPr lang="en-GB" baseline="0" dirty="0" smtClean="0"/>
                        <a:t> of Things Conferen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Mar 23 - 2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Hannover</a:t>
                      </a:r>
                      <a:endParaRPr lang="en-US" dirty="0"/>
                    </a:p>
                  </a:txBody>
                  <a:tcPr/>
                </a:tc>
              </a:tr>
              <a:tr h="602364">
                <a:tc>
                  <a:txBody>
                    <a:bodyPr/>
                    <a:lstStyle/>
                    <a:p>
                      <a:r>
                        <a:rPr lang="en-GB" dirty="0" smtClean="0"/>
                        <a:t>Machine to Machine and </a:t>
                      </a:r>
                      <a:r>
                        <a:rPr lang="en-GB" dirty="0" err="1" smtClean="0"/>
                        <a:t>Objets</a:t>
                      </a:r>
                      <a:r>
                        <a:rPr lang="en-GB" dirty="0" smtClean="0"/>
                        <a:t> </a:t>
                      </a:r>
                      <a:r>
                        <a:rPr lang="en-GB" dirty="0" err="1" smtClean="0"/>
                        <a:t>Connec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 – 2 Apri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La </a:t>
                      </a:r>
                      <a:r>
                        <a:rPr lang="en-GB" dirty="0" err="1" smtClean="0"/>
                        <a:t>Defense</a:t>
                      </a:r>
                      <a:r>
                        <a:rPr lang="en-GB" dirty="0" smtClean="0"/>
                        <a:t>,</a:t>
                      </a:r>
                      <a:r>
                        <a:rPr lang="en-GB" baseline="0" dirty="0" smtClean="0"/>
                        <a:t> Paris</a:t>
                      </a:r>
                      <a:endParaRPr lang="en-US" dirty="0"/>
                    </a:p>
                  </a:txBody>
                  <a:tcPr/>
                </a:tc>
              </a:tr>
              <a:tr h="444818">
                <a:tc>
                  <a:txBody>
                    <a:bodyPr/>
                    <a:lstStyle/>
                    <a:p>
                      <a:r>
                        <a:rPr lang="en-GB" dirty="0" smtClean="0"/>
                        <a:t>Intel</a:t>
                      </a:r>
                      <a:r>
                        <a:rPr lang="en-GB" baseline="0" dirty="0" smtClean="0"/>
                        <a:t> IoT Roadshow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June</a:t>
                      </a:r>
                      <a:r>
                        <a:rPr lang="en-GB" baseline="0" dirty="0" smtClean="0"/>
                        <a:t> 12 – 1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London</a:t>
                      </a:r>
                      <a:endParaRPr lang="en-US" dirty="0"/>
                    </a:p>
                  </a:txBody>
                  <a:tcPr/>
                </a:tc>
              </a:tr>
              <a:tr h="499429">
                <a:tc>
                  <a:txBody>
                    <a:bodyPr/>
                    <a:lstStyle/>
                    <a:p>
                      <a:r>
                        <a:rPr lang="en-GB" dirty="0" smtClean="0"/>
                        <a:t>Hannover </a:t>
                      </a:r>
                      <a:r>
                        <a:rPr lang="en-GB" dirty="0" err="1" smtClean="0"/>
                        <a:t>Mess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April 13-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Hannover 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374589" y="123655"/>
            <a:ext cx="8550339" cy="42035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 smtClean="0"/>
              <a:t>We’d Love To See You Again…IoT Event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383676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sz="4800" b="1" dirty="0" smtClean="0"/>
              <a:t>Thanks!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939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"/>
            <a:ext cx="9204207" cy="5115987"/>
          </a:xfrm>
          <a:prstGeom prst="rect">
            <a:avLst/>
          </a:prstGeom>
          <a:effectLst>
            <a:softEdge rad="292100"/>
          </a:effectLst>
        </p:spPr>
      </p:pic>
      <p:sp>
        <p:nvSpPr>
          <p:cNvPr id="8" name="Rounded Rectangle 7"/>
          <p:cNvSpPr/>
          <p:nvPr/>
        </p:nvSpPr>
        <p:spPr>
          <a:xfrm>
            <a:off x="2086841" y="671639"/>
            <a:ext cx="5590555" cy="3253155"/>
          </a:xfrm>
          <a:prstGeom prst="roundRect">
            <a:avLst/>
          </a:prstGeom>
          <a:solidFill>
            <a:srgbClr val="00B0F0">
              <a:alpha val="62000"/>
            </a:srgbClr>
          </a:solidFill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90000"/>
              </a:lnSpc>
            </a:pPr>
            <a:r>
              <a:rPr lang="en-US" sz="4400" b="1" dirty="0" smtClean="0">
                <a:solidFill>
                  <a:srgbClr val="F5D22F"/>
                </a:solidFill>
                <a:latin typeface="Intel Clear" panose="020B0604020203020204" pitchFamily="34" charset="0"/>
                <a:cs typeface="Intel Clear Bold Italic"/>
              </a:rPr>
              <a:t>AGENDA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pt-BR" sz="2800" dirty="0" smtClean="0">
                <a:solidFill>
                  <a:prstClr val="white"/>
                </a:solidFill>
                <a:latin typeface="Intel Clear" panose="020B0604020203020204" pitchFamily="34" charset="0"/>
              </a:rPr>
              <a:t>Intel</a:t>
            </a:r>
            <a:r>
              <a:rPr lang="de-DE" sz="2800" dirty="0">
                <a:solidFill>
                  <a:prstClr val="white"/>
                </a:solidFill>
                <a:latin typeface="Intel Clear" panose="020B0604020203020204" pitchFamily="34" charset="0"/>
              </a:rPr>
              <a:t>®</a:t>
            </a:r>
            <a:r>
              <a:rPr lang="pt-BR" sz="2800" dirty="0">
                <a:solidFill>
                  <a:prstClr val="white"/>
                </a:solidFill>
                <a:latin typeface="Intel Clear" panose="020B0604020203020204" pitchFamily="34" charset="0"/>
              </a:rPr>
              <a:t> </a:t>
            </a:r>
            <a:r>
              <a:rPr lang="pt-BR" sz="2800" dirty="0" smtClean="0">
                <a:solidFill>
                  <a:prstClr val="white"/>
                </a:solidFill>
                <a:latin typeface="Intel Clear" panose="020B0604020203020204" pitchFamily="34" charset="0"/>
              </a:rPr>
              <a:t>IoT Platforms </a:t>
            </a:r>
            <a:r>
              <a:rPr lang="pt-BR" sz="2800" dirty="0">
                <a:solidFill>
                  <a:prstClr val="white"/>
                </a:solidFill>
                <a:latin typeface="Intel Clear" panose="020B0604020203020204" pitchFamily="34" charset="0"/>
              </a:rPr>
              <a:t>Overview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pt-BR" sz="2800" dirty="0" smtClean="0">
                <a:solidFill>
                  <a:prstClr val="white"/>
                </a:solidFill>
                <a:latin typeface="Intel Clear" panose="020B0604020203020204" pitchFamily="34" charset="0"/>
              </a:rPr>
              <a:t>Development </a:t>
            </a:r>
            <a:r>
              <a:rPr lang="pt-BR" sz="2800" dirty="0">
                <a:solidFill>
                  <a:prstClr val="white"/>
                </a:solidFill>
                <a:latin typeface="Intel Clear" panose="020B0604020203020204" pitchFamily="34" charset="0"/>
              </a:rPr>
              <a:t>environment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prstClr val="white"/>
                </a:solidFill>
                <a:latin typeface="Intel Clear" panose="020B0604020203020204" pitchFamily="34" charset="0"/>
              </a:rPr>
              <a:t>Libmraa &amp; UPM libraries</a:t>
            </a:r>
          </a:p>
          <a:p>
            <a:pPr marL="342900" lvl="0" indent="-342900">
              <a:buFont typeface="Arial" panose="020B0604020202020204" pitchFamily="34" charset="0"/>
              <a:buChar char="•"/>
              <a:defRPr/>
            </a:pPr>
            <a:r>
              <a:rPr lang="en-GB" sz="2800" dirty="0">
                <a:solidFill>
                  <a:prstClr val="white"/>
                </a:solidFill>
                <a:latin typeface="Intel Clear" panose="020B0604020203020204" pitchFamily="34" charset="0"/>
              </a:rPr>
              <a:t>Cloud Analytics </a:t>
            </a:r>
            <a:r>
              <a:rPr lang="en-GB" sz="2800" dirty="0" smtClean="0">
                <a:solidFill>
                  <a:prstClr val="white"/>
                </a:solidFill>
                <a:latin typeface="Intel Clear" panose="020B0604020203020204" pitchFamily="34" charset="0"/>
              </a:rPr>
              <a:t>overview</a:t>
            </a:r>
          </a:p>
          <a:p>
            <a:pPr marL="342900" lvl="0" indent="-342900">
              <a:buFont typeface="Arial" panose="020B0604020202020204" pitchFamily="34" charset="0"/>
              <a:buChar char="•"/>
              <a:defRPr/>
            </a:pPr>
            <a:r>
              <a:rPr lang="en-GB" sz="2800" dirty="0" smtClean="0">
                <a:solidFill>
                  <a:prstClr val="white"/>
                </a:solidFill>
                <a:latin typeface="Intel Clear" panose="020B0604020203020204" pitchFamily="34" charset="0"/>
              </a:rPr>
              <a:t>Hackfest kick-off </a:t>
            </a:r>
            <a:endParaRPr lang="pt-BR" sz="2800" dirty="0">
              <a:solidFill>
                <a:prstClr val="white"/>
              </a:solidFill>
              <a:latin typeface="Intel Clear" panose="020B0604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0971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b="1" dirty="0" smtClean="0"/>
              <a:t>Backup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1008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2147" y="39867"/>
            <a:ext cx="8229600" cy="417269"/>
          </a:xfrm>
        </p:spPr>
        <p:txBody>
          <a:bodyPr>
            <a:noAutofit/>
          </a:bodyPr>
          <a:lstStyle/>
          <a:p>
            <a:r>
              <a:rPr lang="en-US" b="1" dirty="0" smtClean="0">
                <a:latin typeface="Intel Clear" panose="020B0604020203020204" pitchFamily="34" charset="0"/>
              </a:rPr>
              <a:t>IoT DevKit for Edison vs. Galileo</a:t>
            </a:r>
            <a:endParaRPr lang="en-US" b="1" dirty="0">
              <a:latin typeface="Intel Clear" panose="020B0604020203020204" pitchFamily="34" charset="0"/>
            </a:endParaRPr>
          </a:p>
        </p:txBody>
      </p:sp>
      <p:sp>
        <p:nvSpPr>
          <p:cNvPr id="6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4328" y="1432930"/>
            <a:ext cx="1434944" cy="230783"/>
          </a:xfrm>
          <a:prstGeom prst="rect">
            <a:avLst/>
          </a:prstGeom>
          <a:ln/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34290" tIns="34290" rIns="34290" bIns="34290" anchor="ctr"/>
          <a:lstStyle/>
          <a:p>
            <a:pPr algn="ctr" defTabSz="671513">
              <a:buClr>
                <a:schemeClr val="tx2"/>
              </a:buClr>
            </a:pPr>
            <a:r>
              <a:rPr lang="en-US" sz="1100" b="1" dirty="0">
                <a:solidFill>
                  <a:schemeClr val="folHlink"/>
                </a:solidFill>
                <a:latin typeface="Intel Clear" panose="020B0604020203020204" pitchFamily="34" charset="0"/>
              </a:rPr>
              <a:t>l</a:t>
            </a:r>
            <a:r>
              <a:rPr lang="en-US" sz="1100" b="1" dirty="0" smtClean="0">
                <a:solidFill>
                  <a:schemeClr val="folHlink"/>
                </a:solidFill>
                <a:latin typeface="Intel Clear" panose="020B0604020203020204" pitchFamily="34" charset="0"/>
              </a:rPr>
              <a:t>ibMraa</a:t>
            </a:r>
            <a:r>
              <a:rPr lang="en-US" sz="1100" b="1" dirty="0">
                <a:solidFill>
                  <a:schemeClr val="folHlink"/>
                </a:solidFill>
                <a:latin typeface="Intel Clear" panose="020B0604020203020204" pitchFamily="34" charset="0"/>
              </a:rPr>
              <a:t>/ UPM</a:t>
            </a:r>
          </a:p>
        </p:txBody>
      </p:sp>
      <p:sp>
        <p:nvSpPr>
          <p:cNvPr id="7" name="Rectangle 10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44328" y="1848274"/>
            <a:ext cx="1434944" cy="230783"/>
          </a:xfrm>
          <a:prstGeom prst="rect">
            <a:avLst/>
          </a:prstGeom>
          <a:ln/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4290" tIns="34290" rIns="34290" bIns="34290" anchor="ctr"/>
          <a:lstStyle/>
          <a:p>
            <a:pPr algn="ctr" defTabSz="671513">
              <a:buClr>
                <a:schemeClr val="tx2"/>
              </a:buClr>
            </a:pPr>
            <a:r>
              <a:rPr lang="en-US" sz="1100" b="1" dirty="0">
                <a:solidFill>
                  <a:schemeClr val="folHlink"/>
                </a:solidFill>
                <a:latin typeface="Intel Clear" panose="020B0604020203020204" pitchFamily="34" charset="0"/>
              </a:rPr>
              <a:t>C/C++ (Eclipse)</a:t>
            </a:r>
          </a:p>
        </p:txBody>
      </p:sp>
      <p:sp>
        <p:nvSpPr>
          <p:cNvPr id="8" name="Rectangle 10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44328" y="2253958"/>
            <a:ext cx="1434944" cy="230783"/>
          </a:xfrm>
          <a:prstGeom prst="rect">
            <a:avLst/>
          </a:prstGeom>
          <a:ln/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34290" tIns="34290" rIns="34290" bIns="34290" anchor="ctr"/>
          <a:lstStyle/>
          <a:p>
            <a:pPr algn="ctr" defTabSz="671513">
              <a:buClr>
                <a:schemeClr val="tx2"/>
              </a:buClr>
            </a:pPr>
            <a:r>
              <a:rPr lang="en-US" sz="1100" b="1" dirty="0">
                <a:solidFill>
                  <a:schemeClr val="folHlink"/>
                </a:solidFill>
                <a:latin typeface="Intel Clear" panose="020B0604020203020204" pitchFamily="34" charset="0"/>
              </a:rPr>
              <a:t>Java script (XDK)</a:t>
            </a:r>
          </a:p>
        </p:txBody>
      </p:sp>
      <p:sp>
        <p:nvSpPr>
          <p:cNvPr id="9" name="Rectangle 10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44328" y="2669302"/>
            <a:ext cx="1434944" cy="230783"/>
          </a:xfrm>
          <a:prstGeom prst="rect">
            <a:avLst/>
          </a:prstGeom>
          <a:ln/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4290" tIns="34290" rIns="34290" bIns="34290" anchor="ctr"/>
          <a:lstStyle/>
          <a:p>
            <a:pPr algn="ctr" defTabSz="671513">
              <a:buClr>
                <a:schemeClr val="tx2"/>
              </a:buClr>
            </a:pPr>
            <a:r>
              <a:rPr lang="en-US" sz="1100" b="1" dirty="0">
                <a:solidFill>
                  <a:schemeClr val="folHlink"/>
                </a:solidFill>
                <a:latin typeface="Intel Clear" panose="020B0604020203020204" pitchFamily="34" charset="0"/>
              </a:rPr>
              <a:t>Visual (</a:t>
            </a:r>
            <a:r>
              <a:rPr lang="en-US" sz="1100" b="1" dirty="0" smtClean="0">
                <a:solidFill>
                  <a:schemeClr val="folHlink"/>
                </a:solidFill>
                <a:latin typeface="Intel Clear" panose="020B0604020203020204" pitchFamily="34" charset="0"/>
              </a:rPr>
              <a:t>Wyliodrin*)</a:t>
            </a:r>
            <a:endParaRPr lang="en-US" sz="1100" b="1" dirty="0">
              <a:solidFill>
                <a:schemeClr val="folHlink"/>
              </a:solidFill>
              <a:latin typeface="Intel Clear" panose="020B0604020203020204" pitchFamily="34" charset="0"/>
            </a:endParaRPr>
          </a:p>
        </p:txBody>
      </p:sp>
      <p:sp>
        <p:nvSpPr>
          <p:cNvPr id="10" name="Rectangle 10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44328" y="3070674"/>
            <a:ext cx="1434944" cy="230783"/>
          </a:xfrm>
          <a:prstGeom prst="rect">
            <a:avLst/>
          </a:prstGeom>
          <a:ln/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34290" tIns="34290" rIns="34290" bIns="34290" anchor="ctr"/>
          <a:lstStyle/>
          <a:p>
            <a:pPr algn="ctr" defTabSz="671513">
              <a:buClr>
                <a:schemeClr val="tx2"/>
              </a:buClr>
            </a:pPr>
            <a:r>
              <a:rPr lang="en-US" sz="1100" b="1" dirty="0" smtClean="0">
                <a:solidFill>
                  <a:schemeClr val="folHlink"/>
                </a:solidFill>
                <a:latin typeface="Intel Clear" panose="020B0604020203020204" pitchFamily="34" charset="0"/>
              </a:rPr>
              <a:t>Arduino™ </a:t>
            </a:r>
            <a:endParaRPr lang="en-US" sz="1100" b="1" dirty="0">
              <a:solidFill>
                <a:schemeClr val="folHlink"/>
              </a:solidFill>
              <a:latin typeface="Intel Clear" panose="020B0604020203020204" pitchFamily="34" charset="0"/>
            </a:endParaRPr>
          </a:p>
        </p:txBody>
      </p:sp>
      <p:sp>
        <p:nvSpPr>
          <p:cNvPr id="11" name="Rectangle 10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44328" y="3467733"/>
            <a:ext cx="1434944" cy="230783"/>
          </a:xfrm>
          <a:prstGeom prst="rect">
            <a:avLst/>
          </a:prstGeom>
          <a:ln/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4290" tIns="34290" rIns="34290" bIns="34290" anchor="ctr"/>
          <a:lstStyle/>
          <a:p>
            <a:pPr algn="ctr" defTabSz="671513">
              <a:buClr>
                <a:schemeClr val="tx2"/>
              </a:buClr>
            </a:pPr>
            <a:r>
              <a:rPr lang="en-US" sz="1100" b="1" dirty="0" smtClean="0">
                <a:solidFill>
                  <a:schemeClr val="folHlink"/>
                </a:solidFill>
                <a:latin typeface="Intel Clear" panose="020B0604020203020204" pitchFamily="34" charset="0"/>
              </a:rPr>
              <a:t>VxWorks*</a:t>
            </a:r>
            <a:endParaRPr lang="en-US" sz="1100" b="1" dirty="0">
              <a:solidFill>
                <a:schemeClr val="folHlink"/>
              </a:solidFill>
              <a:latin typeface="Intel Clear" panose="020B0604020203020204" pitchFamily="34" charset="0"/>
            </a:endParaRPr>
          </a:p>
        </p:txBody>
      </p:sp>
      <p:sp>
        <p:nvSpPr>
          <p:cNvPr id="12" name="Rectangle 108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44328" y="3873418"/>
            <a:ext cx="1434944" cy="230783"/>
          </a:xfrm>
          <a:prstGeom prst="rect">
            <a:avLst/>
          </a:prstGeom>
          <a:ln/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34290" tIns="34290" rIns="34290" bIns="34290" anchor="ctr"/>
          <a:lstStyle/>
          <a:p>
            <a:pPr algn="ctr" defTabSz="671513">
              <a:buClr>
                <a:schemeClr val="tx2"/>
              </a:buClr>
            </a:pPr>
            <a:r>
              <a:rPr lang="en-US" sz="1100" b="1" dirty="0">
                <a:solidFill>
                  <a:schemeClr val="folHlink"/>
                </a:solidFill>
                <a:latin typeface="Intel Clear" panose="020B0604020203020204" pitchFamily="34" charset="0"/>
              </a:rPr>
              <a:t>Intel® </a:t>
            </a:r>
            <a:r>
              <a:rPr lang="en-US" sz="1100" b="1" dirty="0" smtClean="0">
                <a:solidFill>
                  <a:schemeClr val="folHlink"/>
                </a:solidFill>
                <a:latin typeface="Intel Clear" panose="020B0604020203020204" pitchFamily="34" charset="0"/>
              </a:rPr>
              <a:t>System </a:t>
            </a:r>
            <a:r>
              <a:rPr lang="en-US" sz="1100" b="1" dirty="0">
                <a:solidFill>
                  <a:schemeClr val="folHlink"/>
                </a:solidFill>
                <a:latin typeface="Intel Clear" panose="020B0604020203020204" pitchFamily="34" charset="0"/>
              </a:rPr>
              <a:t>Studio</a:t>
            </a:r>
          </a:p>
        </p:txBody>
      </p:sp>
      <p:sp>
        <p:nvSpPr>
          <p:cNvPr id="13" name="Rectangle 108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44328" y="1046563"/>
            <a:ext cx="1434944" cy="230783"/>
          </a:xfrm>
          <a:prstGeom prst="rect">
            <a:avLst/>
          </a:prstGeom>
          <a:ln/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4290" tIns="34290" rIns="34290" bIns="34290" anchor="ctr"/>
          <a:lstStyle/>
          <a:p>
            <a:pPr algn="ctr" defTabSz="671513">
              <a:buClr>
                <a:schemeClr val="tx2"/>
              </a:buClr>
            </a:pPr>
            <a:r>
              <a:rPr lang="en-US" sz="1100" b="1" dirty="0">
                <a:solidFill>
                  <a:schemeClr val="folHlink"/>
                </a:solidFill>
                <a:latin typeface="Intel Clear" panose="020B0604020203020204" pitchFamily="34" charset="0"/>
              </a:rPr>
              <a:t>OS/ Imag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356833" y="532875"/>
            <a:ext cx="2839792" cy="407168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  <a:reflection blurRad="6350" stA="50000" endA="300" endPos="38500" dist="50800" dir="5400000" sy="-100000" algn="bl" rotWithShape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en-US" sz="1200" dirty="0">
                <a:solidFill>
                  <a:srgbClr val="061922"/>
                </a:solidFill>
                <a:latin typeface="Intel Clear" panose="020B0604020203020204" pitchFamily="34" charset="0"/>
                <a:cs typeface="Calibri" pitchFamily="34" charset="0"/>
              </a:rPr>
              <a:t>Intel</a:t>
            </a:r>
            <a:r>
              <a:rPr lang="en-US" sz="1200" dirty="0" smtClean="0">
                <a:solidFill>
                  <a:srgbClr val="061922"/>
                </a:solidFill>
                <a:latin typeface="Intel Clear" panose="020B0604020203020204" pitchFamily="34" charset="0"/>
                <a:cs typeface="Calibri" pitchFamily="34" charset="0"/>
              </a:rPr>
              <a:t>® </a:t>
            </a:r>
            <a:r>
              <a:rPr lang="en-US" sz="1200" dirty="0" smtClean="0">
                <a:solidFill>
                  <a:schemeClr val="tx1"/>
                </a:solidFill>
                <a:latin typeface="Intel Clear" panose="020B0604020203020204" pitchFamily="34" charset="0"/>
              </a:rPr>
              <a:t>Edison</a:t>
            </a:r>
            <a:endParaRPr lang="en-US" sz="1200" dirty="0">
              <a:solidFill>
                <a:schemeClr val="tx1"/>
              </a:solidFill>
              <a:latin typeface="Intel Clear" panose="020B0604020203020204" pitchFamily="34" charset="0"/>
            </a:endParaRPr>
          </a:p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</a:rPr>
              <a:t>Unified OS Image </a:t>
            </a:r>
          </a:p>
        </p:txBody>
      </p:sp>
      <p:sp>
        <p:nvSpPr>
          <p:cNvPr id="15" name="Rectangle 14"/>
          <p:cNvSpPr/>
          <p:nvPr/>
        </p:nvSpPr>
        <p:spPr>
          <a:xfrm>
            <a:off x="5720689" y="532875"/>
            <a:ext cx="2834961" cy="416599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  <a:reflection blurRad="6350" stA="50000" endA="300" endPos="38500" dist="50800" dir="5400000" sy="-100000" algn="bl" rotWithShape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en-US" sz="1200" dirty="0">
                <a:solidFill>
                  <a:srgbClr val="061922"/>
                </a:solidFill>
                <a:latin typeface="Intel Clear" panose="020B0604020203020204" pitchFamily="34" charset="0"/>
                <a:cs typeface="Calibri" pitchFamily="34" charset="0"/>
              </a:rPr>
              <a:t>Intel® </a:t>
            </a:r>
            <a:r>
              <a:rPr lang="en-US" sz="1200" dirty="0" smtClean="0">
                <a:solidFill>
                  <a:schemeClr val="tx1"/>
                </a:solidFill>
                <a:latin typeface="Intel Clear" panose="020B0604020203020204" pitchFamily="34" charset="0"/>
              </a:rPr>
              <a:t>Galileo </a:t>
            </a:r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</a:rPr>
              <a:t>Gen 1/Gen 2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  <a:latin typeface="Intel Clear" panose="020B0604020203020204" pitchFamily="34" charset="0"/>
              </a:rPr>
              <a:t>Independent OS Image</a:t>
            </a:r>
          </a:p>
        </p:txBody>
      </p:sp>
      <p:cxnSp>
        <p:nvCxnSpPr>
          <p:cNvPr id="16" name="Straight Connector 15"/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 flipH="1">
            <a:off x="24148" y="1344962"/>
            <a:ext cx="9040968" cy="1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2699733" y="1007926"/>
            <a:ext cx="2521039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US" sz="1200" dirty="0">
                <a:latin typeface="Intel Clear" panose="020B0604020203020204" pitchFamily="34" charset="0"/>
              </a:rPr>
              <a:t>S/W package for Edis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058758" y="992923"/>
            <a:ext cx="2521039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US" sz="1200" dirty="0">
                <a:latin typeface="Intel Clear" panose="020B0604020203020204" pitchFamily="34" charset="0"/>
              </a:rPr>
              <a:t>EGLibC  OS Image (Yocto 1.6)</a:t>
            </a:r>
          </a:p>
        </p:txBody>
      </p:sp>
      <p:cxnSp>
        <p:nvCxnSpPr>
          <p:cNvPr id="19" name="Straight Connector 18"/>
          <p:cNvCxnSpPr>
            <a:cxnSpLocks/>
          </p:cNvCxnSpPr>
          <p:nvPr>
            <p:custDataLst>
              <p:tags r:id="rId10"/>
            </p:custDataLst>
          </p:nvPr>
        </p:nvCxnSpPr>
        <p:spPr bwMode="gray">
          <a:xfrm flipH="1">
            <a:off x="24148" y="1769964"/>
            <a:ext cx="9040968" cy="1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 flipH="1">
            <a:off x="24148" y="2165990"/>
            <a:ext cx="9040968" cy="1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 flipH="1">
            <a:off x="24148" y="2581333"/>
            <a:ext cx="9040968" cy="1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 flipH="1">
            <a:off x="24148" y="2987017"/>
            <a:ext cx="9040968" cy="1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cxnSpLocks/>
          </p:cNvCxnSpPr>
          <p:nvPr>
            <p:custDataLst>
              <p:tags r:id="rId14"/>
            </p:custDataLst>
          </p:nvPr>
        </p:nvCxnSpPr>
        <p:spPr bwMode="gray">
          <a:xfrm flipH="1">
            <a:off x="24148" y="3392702"/>
            <a:ext cx="9040968" cy="1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 flipH="1">
            <a:off x="24148" y="3788727"/>
            <a:ext cx="9040968" cy="1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cxnSpLocks/>
          </p:cNvCxnSpPr>
          <p:nvPr>
            <p:custDataLst>
              <p:tags r:id="rId16"/>
            </p:custDataLst>
          </p:nvPr>
        </p:nvCxnSpPr>
        <p:spPr bwMode="gray">
          <a:xfrm flipH="1">
            <a:off x="24148" y="4204071"/>
            <a:ext cx="9040968" cy="1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reeform 99"/>
          <p:cNvSpPr>
            <a:spLocks noChangeAspect="1"/>
          </p:cNvSpPr>
          <p:nvPr>
            <p:custDataLst>
              <p:tags r:id="rId17"/>
            </p:custDataLst>
          </p:nvPr>
        </p:nvSpPr>
        <p:spPr bwMode="gray">
          <a:xfrm>
            <a:off x="2352902" y="1046563"/>
            <a:ext cx="259900" cy="230783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Intel Clear" panose="020B0604020203020204" pitchFamily="34" charset="0"/>
            </a:endParaRPr>
          </a:p>
        </p:txBody>
      </p:sp>
      <p:sp>
        <p:nvSpPr>
          <p:cNvPr id="27" name="Freeform 99"/>
          <p:cNvSpPr>
            <a:spLocks noChangeAspect="1"/>
          </p:cNvSpPr>
          <p:nvPr>
            <p:custDataLst>
              <p:tags r:id="rId18"/>
            </p:custDataLst>
          </p:nvPr>
        </p:nvSpPr>
        <p:spPr bwMode="gray">
          <a:xfrm>
            <a:off x="2352901" y="1432930"/>
            <a:ext cx="259900" cy="230783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Intel Clear" panose="020B0604020203020204" pitchFamily="34" charset="0"/>
            </a:endParaRPr>
          </a:p>
        </p:txBody>
      </p:sp>
      <p:sp>
        <p:nvSpPr>
          <p:cNvPr id="28" name="Freeform 99"/>
          <p:cNvSpPr>
            <a:spLocks noChangeAspect="1"/>
          </p:cNvSpPr>
          <p:nvPr>
            <p:custDataLst>
              <p:tags r:id="rId19"/>
            </p:custDataLst>
          </p:nvPr>
        </p:nvSpPr>
        <p:spPr bwMode="gray">
          <a:xfrm>
            <a:off x="2352901" y="1842931"/>
            <a:ext cx="259900" cy="230783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Intel Clear" panose="020B0604020203020204" pitchFamily="34" charset="0"/>
            </a:endParaRPr>
          </a:p>
        </p:txBody>
      </p:sp>
      <p:sp>
        <p:nvSpPr>
          <p:cNvPr id="29" name="Freeform 99"/>
          <p:cNvSpPr>
            <a:spLocks noChangeAspect="1"/>
          </p:cNvSpPr>
          <p:nvPr>
            <p:custDataLst>
              <p:tags r:id="rId20"/>
            </p:custDataLst>
          </p:nvPr>
        </p:nvSpPr>
        <p:spPr bwMode="gray">
          <a:xfrm>
            <a:off x="2337964" y="2253958"/>
            <a:ext cx="259900" cy="230783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Intel Clear" panose="020B0604020203020204" pitchFamily="34" charset="0"/>
            </a:endParaRPr>
          </a:p>
        </p:txBody>
      </p:sp>
      <p:sp>
        <p:nvSpPr>
          <p:cNvPr id="30" name="Freeform 99"/>
          <p:cNvSpPr>
            <a:spLocks noChangeAspect="1"/>
          </p:cNvSpPr>
          <p:nvPr>
            <p:custDataLst>
              <p:tags r:id="rId21"/>
            </p:custDataLst>
          </p:nvPr>
        </p:nvSpPr>
        <p:spPr bwMode="gray">
          <a:xfrm>
            <a:off x="2351999" y="3873417"/>
            <a:ext cx="259900" cy="230783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Intel Clear" panose="020B0604020203020204" pitchFamily="34" charset="0"/>
            </a:endParaRPr>
          </a:p>
        </p:txBody>
      </p:sp>
      <p:sp>
        <p:nvSpPr>
          <p:cNvPr id="31" name="Freeform 99"/>
          <p:cNvSpPr>
            <a:spLocks noChangeAspect="1"/>
          </p:cNvSpPr>
          <p:nvPr>
            <p:custDataLst>
              <p:tags r:id="rId22"/>
            </p:custDataLst>
          </p:nvPr>
        </p:nvSpPr>
        <p:spPr bwMode="gray">
          <a:xfrm>
            <a:off x="2317744" y="3070678"/>
            <a:ext cx="259900" cy="230783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Intel Clear" panose="020B0604020203020204" pitchFamily="34" charset="0"/>
            </a:endParaRPr>
          </a:p>
        </p:txBody>
      </p:sp>
      <p:sp>
        <p:nvSpPr>
          <p:cNvPr id="32" name="Freeform 99"/>
          <p:cNvSpPr>
            <a:spLocks noChangeAspect="1"/>
          </p:cNvSpPr>
          <p:nvPr>
            <p:custDataLst>
              <p:tags r:id="rId23"/>
            </p:custDataLst>
          </p:nvPr>
        </p:nvSpPr>
        <p:spPr bwMode="gray">
          <a:xfrm>
            <a:off x="5779994" y="1037423"/>
            <a:ext cx="259900" cy="230783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Intel Clear" panose="020B0604020203020204" pitchFamily="34" charset="0"/>
            </a:endParaRPr>
          </a:p>
        </p:txBody>
      </p:sp>
      <p:sp>
        <p:nvSpPr>
          <p:cNvPr id="33" name="Freeform 99"/>
          <p:cNvSpPr>
            <a:spLocks noChangeAspect="1"/>
          </p:cNvSpPr>
          <p:nvPr>
            <p:custDataLst>
              <p:tags r:id="rId24"/>
            </p:custDataLst>
          </p:nvPr>
        </p:nvSpPr>
        <p:spPr bwMode="gray">
          <a:xfrm>
            <a:off x="5779993" y="1423789"/>
            <a:ext cx="259900" cy="230783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Intel Clear" panose="020B0604020203020204" pitchFamily="34" charset="0"/>
            </a:endParaRPr>
          </a:p>
        </p:txBody>
      </p:sp>
      <p:sp>
        <p:nvSpPr>
          <p:cNvPr id="34" name="Freeform 99"/>
          <p:cNvSpPr>
            <a:spLocks noChangeAspect="1"/>
          </p:cNvSpPr>
          <p:nvPr>
            <p:custDataLst>
              <p:tags r:id="rId25"/>
            </p:custDataLst>
          </p:nvPr>
        </p:nvSpPr>
        <p:spPr bwMode="gray">
          <a:xfrm>
            <a:off x="5779993" y="1833791"/>
            <a:ext cx="259900" cy="230783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Intel Clear" panose="020B0604020203020204" pitchFamily="34" charset="0"/>
            </a:endParaRPr>
          </a:p>
        </p:txBody>
      </p:sp>
      <p:sp>
        <p:nvSpPr>
          <p:cNvPr id="35" name="Freeform 99"/>
          <p:cNvSpPr>
            <a:spLocks noChangeAspect="1"/>
          </p:cNvSpPr>
          <p:nvPr>
            <p:custDataLst>
              <p:tags r:id="rId26"/>
            </p:custDataLst>
          </p:nvPr>
        </p:nvSpPr>
        <p:spPr bwMode="gray">
          <a:xfrm>
            <a:off x="5765056" y="2244818"/>
            <a:ext cx="259900" cy="230783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Intel Clear" panose="020B0604020203020204" pitchFamily="34" charset="0"/>
            </a:endParaRPr>
          </a:p>
        </p:txBody>
      </p:sp>
      <p:sp>
        <p:nvSpPr>
          <p:cNvPr id="36" name="Freeform 99"/>
          <p:cNvSpPr>
            <a:spLocks noChangeAspect="1"/>
          </p:cNvSpPr>
          <p:nvPr>
            <p:custDataLst>
              <p:tags r:id="rId27"/>
            </p:custDataLst>
          </p:nvPr>
        </p:nvSpPr>
        <p:spPr bwMode="gray">
          <a:xfrm>
            <a:off x="5779091" y="3864277"/>
            <a:ext cx="259900" cy="230783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Intel Clear" panose="020B0604020203020204" pitchFamily="34" charset="0"/>
            </a:endParaRPr>
          </a:p>
        </p:txBody>
      </p:sp>
      <p:sp>
        <p:nvSpPr>
          <p:cNvPr id="37" name="Freeform 99"/>
          <p:cNvSpPr>
            <a:spLocks noChangeAspect="1"/>
          </p:cNvSpPr>
          <p:nvPr>
            <p:custDataLst>
              <p:tags r:id="rId28"/>
            </p:custDataLst>
          </p:nvPr>
        </p:nvSpPr>
        <p:spPr bwMode="gray">
          <a:xfrm>
            <a:off x="5744836" y="3061538"/>
            <a:ext cx="259900" cy="230783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Intel Clear" panose="020B0604020203020204" pitchFamily="34" charset="0"/>
            </a:endParaRPr>
          </a:p>
        </p:txBody>
      </p:sp>
      <p:sp>
        <p:nvSpPr>
          <p:cNvPr id="38" name="Freeform 99"/>
          <p:cNvSpPr>
            <a:spLocks noChangeAspect="1"/>
          </p:cNvSpPr>
          <p:nvPr>
            <p:custDataLst>
              <p:tags r:id="rId29"/>
            </p:custDataLst>
          </p:nvPr>
        </p:nvSpPr>
        <p:spPr bwMode="gray">
          <a:xfrm>
            <a:off x="5744837" y="2669302"/>
            <a:ext cx="259900" cy="230783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Intel Clear" panose="020B0604020203020204" pitchFamily="34" charset="0"/>
            </a:endParaRPr>
          </a:p>
        </p:txBody>
      </p:sp>
      <p:sp>
        <p:nvSpPr>
          <p:cNvPr id="39" name="Freeform 103"/>
          <p:cNvSpPr>
            <a:spLocks noChangeAspect="1"/>
          </p:cNvSpPr>
          <p:nvPr>
            <p:custDataLst>
              <p:tags r:id="rId30"/>
            </p:custDataLst>
          </p:nvPr>
        </p:nvSpPr>
        <p:spPr bwMode="gray">
          <a:xfrm>
            <a:off x="2301042" y="3441540"/>
            <a:ext cx="276602" cy="256976"/>
          </a:xfrm>
          <a:custGeom>
            <a:avLst/>
            <a:gdLst>
              <a:gd name="T0" fmla="*/ 1326 w 2880"/>
              <a:gd name="T1" fmla="*/ 2079 h 2674"/>
              <a:gd name="T2" fmla="*/ 1118 w 2880"/>
              <a:gd name="T3" fmla="*/ 2354 h 2674"/>
              <a:gd name="T4" fmla="*/ 929 w 2880"/>
              <a:gd name="T5" fmla="*/ 2544 h 2674"/>
              <a:gd name="T6" fmla="*/ 780 w 2880"/>
              <a:gd name="T7" fmla="*/ 2642 h 2674"/>
              <a:gd name="T8" fmla="*/ 702 w 2880"/>
              <a:gd name="T9" fmla="*/ 2669 h 2674"/>
              <a:gd name="T10" fmla="*/ 648 w 2880"/>
              <a:gd name="T11" fmla="*/ 2674 h 2674"/>
              <a:gd name="T12" fmla="*/ 484 w 2880"/>
              <a:gd name="T13" fmla="*/ 2641 h 2674"/>
              <a:gd name="T14" fmla="*/ 320 w 2880"/>
              <a:gd name="T15" fmla="*/ 2540 h 2674"/>
              <a:gd name="T16" fmla="*/ 160 w 2880"/>
              <a:gd name="T17" fmla="*/ 2371 h 2674"/>
              <a:gd name="T18" fmla="*/ 0 w 2880"/>
              <a:gd name="T19" fmla="*/ 2136 h 2674"/>
              <a:gd name="T20" fmla="*/ 86 w 2880"/>
              <a:gd name="T21" fmla="*/ 2139 h 2674"/>
              <a:gd name="T22" fmla="*/ 206 w 2880"/>
              <a:gd name="T23" fmla="*/ 2120 h 2674"/>
              <a:gd name="T24" fmla="*/ 408 w 2880"/>
              <a:gd name="T25" fmla="*/ 2030 h 2674"/>
              <a:gd name="T26" fmla="*/ 620 w 2880"/>
              <a:gd name="T27" fmla="*/ 1868 h 2674"/>
              <a:gd name="T28" fmla="*/ 843 w 2880"/>
              <a:gd name="T29" fmla="*/ 1638 h 2674"/>
              <a:gd name="T30" fmla="*/ 877 w 2880"/>
              <a:gd name="T31" fmla="*/ 1362 h 2674"/>
              <a:gd name="T32" fmla="*/ 694 w 2880"/>
              <a:gd name="T33" fmla="*/ 1147 h 2674"/>
              <a:gd name="T34" fmla="*/ 563 w 2880"/>
              <a:gd name="T35" fmla="*/ 948 h 2674"/>
              <a:gd name="T36" fmla="*/ 484 w 2880"/>
              <a:gd name="T37" fmla="*/ 767 h 2674"/>
              <a:gd name="T38" fmla="*/ 458 w 2880"/>
              <a:gd name="T39" fmla="*/ 602 h 2674"/>
              <a:gd name="T40" fmla="*/ 474 w 2880"/>
              <a:gd name="T41" fmla="*/ 503 h 2674"/>
              <a:gd name="T42" fmla="*/ 546 w 2880"/>
              <a:gd name="T43" fmla="*/ 361 h 2674"/>
              <a:gd name="T44" fmla="*/ 674 w 2880"/>
              <a:gd name="T45" fmla="*/ 208 h 2674"/>
              <a:gd name="T46" fmla="*/ 861 w 2880"/>
              <a:gd name="T47" fmla="*/ 42 h 2674"/>
              <a:gd name="T48" fmla="*/ 938 w 2880"/>
              <a:gd name="T49" fmla="*/ 111 h 2674"/>
              <a:gd name="T50" fmla="*/ 1003 w 2880"/>
              <a:gd name="T51" fmla="*/ 331 h 2674"/>
              <a:gd name="T52" fmla="*/ 1102 w 2880"/>
              <a:gd name="T53" fmla="*/ 547 h 2674"/>
              <a:gd name="T54" fmla="*/ 1232 w 2880"/>
              <a:gd name="T55" fmla="*/ 760 h 2674"/>
              <a:gd name="T56" fmla="*/ 1465 w 2880"/>
              <a:gd name="T57" fmla="*/ 887 h 2674"/>
              <a:gd name="T58" fmla="*/ 1641 w 2880"/>
              <a:gd name="T59" fmla="*/ 679 h 2674"/>
              <a:gd name="T60" fmla="*/ 1866 w 2880"/>
              <a:gd name="T61" fmla="*/ 468 h 2674"/>
              <a:gd name="T62" fmla="*/ 2081 w 2880"/>
              <a:gd name="T63" fmla="*/ 334 h 2674"/>
              <a:gd name="T64" fmla="*/ 2209 w 2880"/>
              <a:gd name="T65" fmla="*/ 289 h 2674"/>
              <a:gd name="T66" fmla="*/ 2308 w 2880"/>
              <a:gd name="T67" fmla="*/ 274 h 2674"/>
              <a:gd name="T68" fmla="*/ 2406 w 2880"/>
              <a:gd name="T69" fmla="*/ 281 h 2674"/>
              <a:gd name="T70" fmla="*/ 2540 w 2880"/>
              <a:gd name="T71" fmla="*/ 340 h 2674"/>
              <a:gd name="T72" fmla="*/ 2655 w 2880"/>
              <a:gd name="T73" fmla="*/ 456 h 2674"/>
              <a:gd name="T74" fmla="*/ 2751 w 2880"/>
              <a:gd name="T75" fmla="*/ 630 h 2674"/>
              <a:gd name="T76" fmla="*/ 2755 w 2880"/>
              <a:gd name="T77" fmla="*/ 734 h 2674"/>
              <a:gd name="T78" fmla="*/ 2692 w 2880"/>
              <a:gd name="T79" fmla="*/ 735 h 2674"/>
              <a:gd name="T80" fmla="*/ 2609 w 2880"/>
              <a:gd name="T81" fmla="*/ 758 h 2674"/>
              <a:gd name="T82" fmla="*/ 2401 w 2880"/>
              <a:gd name="T83" fmla="*/ 873 h 2674"/>
              <a:gd name="T84" fmla="*/ 2222 w 2880"/>
              <a:gd name="T85" fmla="*/ 1012 h 2674"/>
              <a:gd name="T86" fmla="*/ 2010 w 2880"/>
              <a:gd name="T87" fmla="*/ 1221 h 2674"/>
              <a:gd name="T88" fmla="*/ 1917 w 2880"/>
              <a:gd name="T89" fmla="*/ 1531 h 2674"/>
              <a:gd name="T90" fmla="*/ 2091 w 2880"/>
              <a:gd name="T91" fmla="*/ 1682 h 2674"/>
              <a:gd name="T92" fmla="*/ 2329 w 2880"/>
              <a:gd name="T93" fmla="*/ 1837 h 2674"/>
              <a:gd name="T94" fmla="*/ 2570 w 2880"/>
              <a:gd name="T95" fmla="*/ 1933 h 2674"/>
              <a:gd name="T96" fmla="*/ 2817 w 2880"/>
              <a:gd name="T97" fmla="*/ 1976 h 2674"/>
              <a:gd name="T98" fmla="*/ 2813 w 2880"/>
              <a:gd name="T99" fmla="*/ 2104 h 2674"/>
              <a:gd name="T100" fmla="*/ 2674 w 2880"/>
              <a:gd name="T101" fmla="*/ 2308 h 2674"/>
              <a:gd name="T102" fmla="*/ 2535 w 2880"/>
              <a:gd name="T103" fmla="*/ 2444 h 2674"/>
              <a:gd name="T104" fmla="*/ 2391 w 2880"/>
              <a:gd name="T105" fmla="*/ 2510 h 2674"/>
              <a:gd name="T106" fmla="*/ 2318 w 2880"/>
              <a:gd name="T107" fmla="*/ 2519 h 2674"/>
              <a:gd name="T108" fmla="*/ 2172 w 2880"/>
              <a:gd name="T109" fmla="*/ 2491 h 2674"/>
              <a:gd name="T110" fmla="*/ 1996 w 2880"/>
              <a:gd name="T111" fmla="*/ 2403 h 2674"/>
              <a:gd name="T112" fmla="*/ 1790 w 2880"/>
              <a:gd name="T113" fmla="*/ 2259 h 2674"/>
              <a:gd name="T114" fmla="*/ 1556 w 2880"/>
              <a:gd name="T115" fmla="*/ 2057 h 2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80" h="2674">
                <a:moveTo>
                  <a:pt x="1424" y="1937"/>
                </a:moveTo>
                <a:lnTo>
                  <a:pt x="1382" y="1997"/>
                </a:lnTo>
                <a:lnTo>
                  <a:pt x="1382" y="1997"/>
                </a:lnTo>
                <a:lnTo>
                  <a:pt x="1326" y="2079"/>
                </a:lnTo>
                <a:lnTo>
                  <a:pt x="1273" y="2157"/>
                </a:lnTo>
                <a:lnTo>
                  <a:pt x="1220" y="2227"/>
                </a:lnTo>
                <a:lnTo>
                  <a:pt x="1167" y="2294"/>
                </a:lnTo>
                <a:lnTo>
                  <a:pt x="1118" y="2354"/>
                </a:lnTo>
                <a:lnTo>
                  <a:pt x="1069" y="2410"/>
                </a:lnTo>
                <a:lnTo>
                  <a:pt x="1021" y="2459"/>
                </a:lnTo>
                <a:lnTo>
                  <a:pt x="973" y="2505"/>
                </a:lnTo>
                <a:lnTo>
                  <a:pt x="929" y="2544"/>
                </a:lnTo>
                <a:lnTo>
                  <a:pt x="885" y="2579"/>
                </a:lnTo>
                <a:lnTo>
                  <a:pt x="843" y="2607"/>
                </a:lnTo>
                <a:lnTo>
                  <a:pt x="801" y="2632"/>
                </a:lnTo>
                <a:lnTo>
                  <a:pt x="780" y="2642"/>
                </a:lnTo>
                <a:lnTo>
                  <a:pt x="760" y="2649"/>
                </a:lnTo>
                <a:lnTo>
                  <a:pt x="741" y="2658"/>
                </a:lnTo>
                <a:lnTo>
                  <a:pt x="722" y="2663"/>
                </a:lnTo>
                <a:lnTo>
                  <a:pt x="702" y="2669"/>
                </a:lnTo>
                <a:lnTo>
                  <a:pt x="685" y="2670"/>
                </a:lnTo>
                <a:lnTo>
                  <a:pt x="665" y="2674"/>
                </a:lnTo>
                <a:lnTo>
                  <a:pt x="648" y="2674"/>
                </a:lnTo>
                <a:lnTo>
                  <a:pt x="648" y="2674"/>
                </a:lnTo>
                <a:lnTo>
                  <a:pt x="606" y="2672"/>
                </a:lnTo>
                <a:lnTo>
                  <a:pt x="565" y="2665"/>
                </a:lnTo>
                <a:lnTo>
                  <a:pt x="525" y="2655"/>
                </a:lnTo>
                <a:lnTo>
                  <a:pt x="484" y="2641"/>
                </a:lnTo>
                <a:lnTo>
                  <a:pt x="444" y="2621"/>
                </a:lnTo>
                <a:lnTo>
                  <a:pt x="401" y="2598"/>
                </a:lnTo>
                <a:lnTo>
                  <a:pt x="361" y="2572"/>
                </a:lnTo>
                <a:lnTo>
                  <a:pt x="320" y="2540"/>
                </a:lnTo>
                <a:lnTo>
                  <a:pt x="280" y="2503"/>
                </a:lnTo>
                <a:lnTo>
                  <a:pt x="239" y="2465"/>
                </a:lnTo>
                <a:lnTo>
                  <a:pt x="201" y="2421"/>
                </a:lnTo>
                <a:lnTo>
                  <a:pt x="160" y="2371"/>
                </a:lnTo>
                <a:lnTo>
                  <a:pt x="120" y="2319"/>
                </a:lnTo>
                <a:lnTo>
                  <a:pt x="79" y="2262"/>
                </a:lnTo>
                <a:lnTo>
                  <a:pt x="40" y="2201"/>
                </a:lnTo>
                <a:lnTo>
                  <a:pt x="0" y="2136"/>
                </a:lnTo>
                <a:lnTo>
                  <a:pt x="0" y="2136"/>
                </a:lnTo>
                <a:lnTo>
                  <a:pt x="63" y="2139"/>
                </a:lnTo>
                <a:lnTo>
                  <a:pt x="63" y="2139"/>
                </a:lnTo>
                <a:lnTo>
                  <a:pt x="86" y="2139"/>
                </a:lnTo>
                <a:lnTo>
                  <a:pt x="111" y="2137"/>
                </a:lnTo>
                <a:lnTo>
                  <a:pt x="134" y="2134"/>
                </a:lnTo>
                <a:lnTo>
                  <a:pt x="158" y="2130"/>
                </a:lnTo>
                <a:lnTo>
                  <a:pt x="206" y="2120"/>
                </a:lnTo>
                <a:lnTo>
                  <a:pt x="255" y="2104"/>
                </a:lnTo>
                <a:lnTo>
                  <a:pt x="306" y="2083"/>
                </a:lnTo>
                <a:lnTo>
                  <a:pt x="357" y="2058"/>
                </a:lnTo>
                <a:lnTo>
                  <a:pt x="408" y="2030"/>
                </a:lnTo>
                <a:lnTo>
                  <a:pt x="459" y="1997"/>
                </a:lnTo>
                <a:lnTo>
                  <a:pt x="512" y="1958"/>
                </a:lnTo>
                <a:lnTo>
                  <a:pt x="565" y="1916"/>
                </a:lnTo>
                <a:lnTo>
                  <a:pt x="620" y="1868"/>
                </a:lnTo>
                <a:lnTo>
                  <a:pt x="674" y="1817"/>
                </a:lnTo>
                <a:lnTo>
                  <a:pt x="731" y="1763"/>
                </a:lnTo>
                <a:lnTo>
                  <a:pt x="785" y="1701"/>
                </a:lnTo>
                <a:lnTo>
                  <a:pt x="843" y="1638"/>
                </a:lnTo>
                <a:lnTo>
                  <a:pt x="900" y="1567"/>
                </a:lnTo>
                <a:lnTo>
                  <a:pt x="977" y="1471"/>
                </a:lnTo>
                <a:lnTo>
                  <a:pt x="877" y="1362"/>
                </a:lnTo>
                <a:lnTo>
                  <a:pt x="877" y="1362"/>
                </a:lnTo>
                <a:lnTo>
                  <a:pt x="827" y="1307"/>
                </a:lnTo>
                <a:lnTo>
                  <a:pt x="778" y="1253"/>
                </a:lnTo>
                <a:lnTo>
                  <a:pt x="734" y="1198"/>
                </a:lnTo>
                <a:lnTo>
                  <a:pt x="694" y="1147"/>
                </a:lnTo>
                <a:lnTo>
                  <a:pt x="657" y="1096"/>
                </a:lnTo>
                <a:lnTo>
                  <a:pt x="621" y="1045"/>
                </a:lnTo>
                <a:lnTo>
                  <a:pt x="590" y="996"/>
                </a:lnTo>
                <a:lnTo>
                  <a:pt x="563" y="948"/>
                </a:lnTo>
                <a:lnTo>
                  <a:pt x="539" y="901"/>
                </a:lnTo>
                <a:lnTo>
                  <a:pt x="518" y="855"/>
                </a:lnTo>
                <a:lnTo>
                  <a:pt x="498" y="811"/>
                </a:lnTo>
                <a:lnTo>
                  <a:pt x="484" y="767"/>
                </a:lnTo>
                <a:lnTo>
                  <a:pt x="472" y="723"/>
                </a:lnTo>
                <a:lnTo>
                  <a:pt x="465" y="683"/>
                </a:lnTo>
                <a:lnTo>
                  <a:pt x="459" y="642"/>
                </a:lnTo>
                <a:lnTo>
                  <a:pt x="458" y="602"/>
                </a:lnTo>
                <a:lnTo>
                  <a:pt x="458" y="602"/>
                </a:lnTo>
                <a:lnTo>
                  <a:pt x="459" y="570"/>
                </a:lnTo>
                <a:lnTo>
                  <a:pt x="465" y="537"/>
                </a:lnTo>
                <a:lnTo>
                  <a:pt x="474" y="503"/>
                </a:lnTo>
                <a:lnTo>
                  <a:pt x="486" y="468"/>
                </a:lnTo>
                <a:lnTo>
                  <a:pt x="502" y="433"/>
                </a:lnTo>
                <a:lnTo>
                  <a:pt x="523" y="398"/>
                </a:lnTo>
                <a:lnTo>
                  <a:pt x="546" y="361"/>
                </a:lnTo>
                <a:lnTo>
                  <a:pt x="572" y="324"/>
                </a:lnTo>
                <a:lnTo>
                  <a:pt x="604" y="287"/>
                </a:lnTo>
                <a:lnTo>
                  <a:pt x="637" y="248"/>
                </a:lnTo>
                <a:lnTo>
                  <a:pt x="674" y="208"/>
                </a:lnTo>
                <a:lnTo>
                  <a:pt x="716" y="167"/>
                </a:lnTo>
                <a:lnTo>
                  <a:pt x="760" y="127"/>
                </a:lnTo>
                <a:lnTo>
                  <a:pt x="810" y="84"/>
                </a:lnTo>
                <a:lnTo>
                  <a:pt x="861" y="42"/>
                </a:lnTo>
                <a:lnTo>
                  <a:pt x="917" y="0"/>
                </a:lnTo>
                <a:lnTo>
                  <a:pt x="917" y="0"/>
                </a:lnTo>
                <a:lnTo>
                  <a:pt x="926" y="56"/>
                </a:lnTo>
                <a:lnTo>
                  <a:pt x="938" y="111"/>
                </a:lnTo>
                <a:lnTo>
                  <a:pt x="951" y="165"/>
                </a:lnTo>
                <a:lnTo>
                  <a:pt x="966" y="222"/>
                </a:lnTo>
                <a:lnTo>
                  <a:pt x="984" y="276"/>
                </a:lnTo>
                <a:lnTo>
                  <a:pt x="1003" y="331"/>
                </a:lnTo>
                <a:lnTo>
                  <a:pt x="1025" y="385"/>
                </a:lnTo>
                <a:lnTo>
                  <a:pt x="1047" y="438"/>
                </a:lnTo>
                <a:lnTo>
                  <a:pt x="1074" y="493"/>
                </a:lnTo>
                <a:lnTo>
                  <a:pt x="1102" y="547"/>
                </a:lnTo>
                <a:lnTo>
                  <a:pt x="1130" y="600"/>
                </a:lnTo>
                <a:lnTo>
                  <a:pt x="1162" y="654"/>
                </a:lnTo>
                <a:lnTo>
                  <a:pt x="1197" y="707"/>
                </a:lnTo>
                <a:lnTo>
                  <a:pt x="1232" y="760"/>
                </a:lnTo>
                <a:lnTo>
                  <a:pt x="1269" y="813"/>
                </a:lnTo>
                <a:lnTo>
                  <a:pt x="1310" y="866"/>
                </a:lnTo>
                <a:lnTo>
                  <a:pt x="1396" y="975"/>
                </a:lnTo>
                <a:lnTo>
                  <a:pt x="1465" y="887"/>
                </a:lnTo>
                <a:lnTo>
                  <a:pt x="1465" y="887"/>
                </a:lnTo>
                <a:lnTo>
                  <a:pt x="1524" y="813"/>
                </a:lnTo>
                <a:lnTo>
                  <a:pt x="1583" y="742"/>
                </a:lnTo>
                <a:lnTo>
                  <a:pt x="1641" y="679"/>
                </a:lnTo>
                <a:lnTo>
                  <a:pt x="1699" y="619"/>
                </a:lnTo>
                <a:lnTo>
                  <a:pt x="1755" y="563"/>
                </a:lnTo>
                <a:lnTo>
                  <a:pt x="1811" y="514"/>
                </a:lnTo>
                <a:lnTo>
                  <a:pt x="1866" y="468"/>
                </a:lnTo>
                <a:lnTo>
                  <a:pt x="1921" y="427"/>
                </a:lnTo>
                <a:lnTo>
                  <a:pt x="1975" y="392"/>
                </a:lnTo>
                <a:lnTo>
                  <a:pt x="2028" y="361"/>
                </a:lnTo>
                <a:lnTo>
                  <a:pt x="2081" y="334"/>
                </a:lnTo>
                <a:lnTo>
                  <a:pt x="2132" y="313"/>
                </a:lnTo>
                <a:lnTo>
                  <a:pt x="2158" y="304"/>
                </a:lnTo>
                <a:lnTo>
                  <a:pt x="2183" y="296"/>
                </a:lnTo>
                <a:lnTo>
                  <a:pt x="2209" y="289"/>
                </a:lnTo>
                <a:lnTo>
                  <a:pt x="2234" y="283"/>
                </a:lnTo>
                <a:lnTo>
                  <a:pt x="2259" y="280"/>
                </a:lnTo>
                <a:lnTo>
                  <a:pt x="2283" y="276"/>
                </a:lnTo>
                <a:lnTo>
                  <a:pt x="2308" y="274"/>
                </a:lnTo>
                <a:lnTo>
                  <a:pt x="2333" y="274"/>
                </a:lnTo>
                <a:lnTo>
                  <a:pt x="2333" y="274"/>
                </a:lnTo>
                <a:lnTo>
                  <a:pt x="2369" y="276"/>
                </a:lnTo>
                <a:lnTo>
                  <a:pt x="2406" y="281"/>
                </a:lnTo>
                <a:lnTo>
                  <a:pt x="2442" y="290"/>
                </a:lnTo>
                <a:lnTo>
                  <a:pt x="2475" y="303"/>
                </a:lnTo>
                <a:lnTo>
                  <a:pt x="2509" y="320"/>
                </a:lnTo>
                <a:lnTo>
                  <a:pt x="2540" y="340"/>
                </a:lnTo>
                <a:lnTo>
                  <a:pt x="2570" y="362"/>
                </a:lnTo>
                <a:lnTo>
                  <a:pt x="2600" y="391"/>
                </a:lnTo>
                <a:lnTo>
                  <a:pt x="2628" y="420"/>
                </a:lnTo>
                <a:lnTo>
                  <a:pt x="2655" y="456"/>
                </a:lnTo>
                <a:lnTo>
                  <a:pt x="2681" y="493"/>
                </a:lnTo>
                <a:lnTo>
                  <a:pt x="2706" y="535"/>
                </a:lnTo>
                <a:lnTo>
                  <a:pt x="2730" y="581"/>
                </a:lnTo>
                <a:lnTo>
                  <a:pt x="2751" y="630"/>
                </a:lnTo>
                <a:lnTo>
                  <a:pt x="2774" y="681"/>
                </a:lnTo>
                <a:lnTo>
                  <a:pt x="2794" y="737"/>
                </a:lnTo>
                <a:lnTo>
                  <a:pt x="2794" y="737"/>
                </a:lnTo>
                <a:lnTo>
                  <a:pt x="2755" y="734"/>
                </a:lnTo>
                <a:lnTo>
                  <a:pt x="2729" y="732"/>
                </a:lnTo>
                <a:lnTo>
                  <a:pt x="2729" y="732"/>
                </a:lnTo>
                <a:lnTo>
                  <a:pt x="2711" y="732"/>
                </a:lnTo>
                <a:lnTo>
                  <a:pt x="2692" y="735"/>
                </a:lnTo>
                <a:lnTo>
                  <a:pt x="2672" y="739"/>
                </a:lnTo>
                <a:lnTo>
                  <a:pt x="2653" y="744"/>
                </a:lnTo>
                <a:lnTo>
                  <a:pt x="2632" y="749"/>
                </a:lnTo>
                <a:lnTo>
                  <a:pt x="2609" y="758"/>
                </a:lnTo>
                <a:lnTo>
                  <a:pt x="2563" y="778"/>
                </a:lnTo>
                <a:lnTo>
                  <a:pt x="2512" y="804"/>
                </a:lnTo>
                <a:lnTo>
                  <a:pt x="2459" y="836"/>
                </a:lnTo>
                <a:lnTo>
                  <a:pt x="2401" y="873"/>
                </a:lnTo>
                <a:lnTo>
                  <a:pt x="2341" y="917"/>
                </a:lnTo>
                <a:lnTo>
                  <a:pt x="2341" y="917"/>
                </a:lnTo>
                <a:lnTo>
                  <a:pt x="2280" y="964"/>
                </a:lnTo>
                <a:lnTo>
                  <a:pt x="2222" y="1012"/>
                </a:lnTo>
                <a:lnTo>
                  <a:pt x="2165" y="1063"/>
                </a:lnTo>
                <a:lnTo>
                  <a:pt x="2111" y="1114"/>
                </a:lnTo>
                <a:lnTo>
                  <a:pt x="2060" y="1166"/>
                </a:lnTo>
                <a:lnTo>
                  <a:pt x="2010" y="1221"/>
                </a:lnTo>
                <a:lnTo>
                  <a:pt x="1965" y="1275"/>
                </a:lnTo>
                <a:lnTo>
                  <a:pt x="1921" y="1333"/>
                </a:lnTo>
                <a:lnTo>
                  <a:pt x="1834" y="1450"/>
                </a:lnTo>
                <a:lnTo>
                  <a:pt x="1917" y="1531"/>
                </a:lnTo>
                <a:lnTo>
                  <a:pt x="1917" y="1531"/>
                </a:lnTo>
                <a:lnTo>
                  <a:pt x="1975" y="1585"/>
                </a:lnTo>
                <a:lnTo>
                  <a:pt x="2033" y="1636"/>
                </a:lnTo>
                <a:lnTo>
                  <a:pt x="2091" y="1682"/>
                </a:lnTo>
                <a:lnTo>
                  <a:pt x="2149" y="1726"/>
                </a:lnTo>
                <a:lnTo>
                  <a:pt x="2209" y="1766"/>
                </a:lnTo>
                <a:lnTo>
                  <a:pt x="2269" y="1803"/>
                </a:lnTo>
                <a:lnTo>
                  <a:pt x="2329" y="1837"/>
                </a:lnTo>
                <a:lnTo>
                  <a:pt x="2389" y="1867"/>
                </a:lnTo>
                <a:lnTo>
                  <a:pt x="2449" y="1891"/>
                </a:lnTo>
                <a:lnTo>
                  <a:pt x="2510" y="1914"/>
                </a:lnTo>
                <a:lnTo>
                  <a:pt x="2570" y="1933"/>
                </a:lnTo>
                <a:lnTo>
                  <a:pt x="2632" y="1949"/>
                </a:lnTo>
                <a:lnTo>
                  <a:pt x="2693" y="1962"/>
                </a:lnTo>
                <a:lnTo>
                  <a:pt x="2755" y="1970"/>
                </a:lnTo>
                <a:lnTo>
                  <a:pt x="2817" y="1976"/>
                </a:lnTo>
                <a:lnTo>
                  <a:pt x="2880" y="1977"/>
                </a:lnTo>
                <a:lnTo>
                  <a:pt x="2880" y="1977"/>
                </a:lnTo>
                <a:lnTo>
                  <a:pt x="2847" y="2042"/>
                </a:lnTo>
                <a:lnTo>
                  <a:pt x="2813" y="2104"/>
                </a:lnTo>
                <a:lnTo>
                  <a:pt x="2778" y="2162"/>
                </a:lnTo>
                <a:lnTo>
                  <a:pt x="2744" y="2215"/>
                </a:lnTo>
                <a:lnTo>
                  <a:pt x="2709" y="2262"/>
                </a:lnTo>
                <a:lnTo>
                  <a:pt x="2674" y="2308"/>
                </a:lnTo>
                <a:lnTo>
                  <a:pt x="2641" y="2349"/>
                </a:lnTo>
                <a:lnTo>
                  <a:pt x="2605" y="2384"/>
                </a:lnTo>
                <a:lnTo>
                  <a:pt x="2570" y="2415"/>
                </a:lnTo>
                <a:lnTo>
                  <a:pt x="2535" y="2444"/>
                </a:lnTo>
                <a:lnTo>
                  <a:pt x="2498" y="2466"/>
                </a:lnTo>
                <a:lnTo>
                  <a:pt x="2463" y="2486"/>
                </a:lnTo>
                <a:lnTo>
                  <a:pt x="2428" y="2500"/>
                </a:lnTo>
                <a:lnTo>
                  <a:pt x="2391" y="2510"/>
                </a:lnTo>
                <a:lnTo>
                  <a:pt x="2355" y="2517"/>
                </a:lnTo>
                <a:lnTo>
                  <a:pt x="2336" y="2519"/>
                </a:lnTo>
                <a:lnTo>
                  <a:pt x="2318" y="2519"/>
                </a:lnTo>
                <a:lnTo>
                  <a:pt x="2318" y="2519"/>
                </a:lnTo>
                <a:lnTo>
                  <a:pt x="2285" y="2517"/>
                </a:lnTo>
                <a:lnTo>
                  <a:pt x="2248" y="2512"/>
                </a:lnTo>
                <a:lnTo>
                  <a:pt x="2211" y="2503"/>
                </a:lnTo>
                <a:lnTo>
                  <a:pt x="2172" y="2491"/>
                </a:lnTo>
                <a:lnTo>
                  <a:pt x="2130" y="2473"/>
                </a:lnTo>
                <a:lnTo>
                  <a:pt x="2088" y="2454"/>
                </a:lnTo>
                <a:lnTo>
                  <a:pt x="2042" y="2431"/>
                </a:lnTo>
                <a:lnTo>
                  <a:pt x="1996" y="2403"/>
                </a:lnTo>
                <a:lnTo>
                  <a:pt x="1947" y="2373"/>
                </a:lnTo>
                <a:lnTo>
                  <a:pt x="1898" y="2338"/>
                </a:lnTo>
                <a:lnTo>
                  <a:pt x="1845" y="2301"/>
                </a:lnTo>
                <a:lnTo>
                  <a:pt x="1790" y="2259"/>
                </a:lnTo>
                <a:lnTo>
                  <a:pt x="1734" y="2215"/>
                </a:lnTo>
                <a:lnTo>
                  <a:pt x="1678" y="2166"/>
                </a:lnTo>
                <a:lnTo>
                  <a:pt x="1618" y="2113"/>
                </a:lnTo>
                <a:lnTo>
                  <a:pt x="1556" y="2057"/>
                </a:lnTo>
                <a:lnTo>
                  <a:pt x="1424" y="1937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Intel Clear" panose="020B0604020203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699734" y="1332233"/>
            <a:ext cx="2727545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US" sz="1200" dirty="0">
                <a:latin typeface="Intel Clear" panose="020B0604020203020204" pitchFamily="34" charset="0"/>
              </a:rPr>
              <a:t>Access to low-level I/O + Sensor libs -</a:t>
            </a:r>
            <a:r>
              <a:rPr lang="en-US" sz="1200" b="1" i="1" dirty="0">
                <a:latin typeface="Intel Clear" panose="020B0604020203020204" pitchFamily="34" charset="0"/>
              </a:rPr>
              <a:t>Included in Intel® </a:t>
            </a:r>
            <a:r>
              <a:rPr lang="en-US" sz="1200" b="1" i="1" dirty="0" smtClean="0">
                <a:latin typeface="Intel Clear" panose="020B0604020203020204" pitchFamily="34" charset="0"/>
              </a:rPr>
              <a:t>Edison </a:t>
            </a:r>
            <a:r>
              <a:rPr lang="en-US" sz="1200" b="1" i="1" dirty="0">
                <a:latin typeface="Intel Clear" panose="020B0604020203020204" pitchFamily="34" charset="0"/>
              </a:rPr>
              <a:t>S/W stack</a:t>
            </a:r>
            <a:endParaRPr lang="en-US" sz="1200" b="1" dirty="0">
              <a:latin typeface="Intel Clear" panose="020B0604020203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699734" y="1765912"/>
            <a:ext cx="2822139" cy="43858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US" sz="1200" dirty="0">
                <a:latin typeface="Intel Clear" panose="020B0604020203020204" pitchFamily="34" charset="0"/>
              </a:rPr>
              <a:t>C/C++ tool chain. Eclipse IDE (64-bit) for C/C++ dev on Win, Linux, Mac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678951" y="2147538"/>
            <a:ext cx="3075993" cy="43858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US" sz="1200" dirty="0">
                <a:latin typeface="Intel Clear" panose="020B0604020203020204" pitchFamily="34" charset="0"/>
              </a:rPr>
              <a:t>Node JS Support.  XDK IoT Edison </a:t>
            </a:r>
            <a:endParaRPr lang="en-US" sz="1200" dirty="0" smtClean="0">
              <a:latin typeface="Intel Clear" panose="020B0604020203020204" pitchFamily="34" charset="0"/>
            </a:endParaRPr>
          </a:p>
          <a:p>
            <a:r>
              <a:rPr lang="en-US" sz="1200" dirty="0" smtClean="0">
                <a:latin typeface="Intel Clear" panose="020B0604020203020204" pitchFamily="34" charset="0"/>
              </a:rPr>
              <a:t>(Sept </a:t>
            </a:r>
            <a:r>
              <a:rPr lang="en-US" sz="1200" dirty="0">
                <a:latin typeface="Intel Clear" panose="020B0604020203020204" pitchFamily="34" charset="0"/>
              </a:rPr>
              <a:t>30</a:t>
            </a:r>
            <a:r>
              <a:rPr lang="en-US" sz="1200" baseline="30000" dirty="0">
                <a:latin typeface="Intel Clear" panose="020B0604020203020204" pitchFamily="34" charset="0"/>
              </a:rPr>
              <a:t>th</a:t>
            </a:r>
            <a:r>
              <a:rPr lang="en-US" sz="1200" dirty="0">
                <a:latin typeface="Intel Clear" panose="020B0604020203020204" pitchFamily="34" charset="0"/>
              </a:rPr>
              <a:t> )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6073247" y="1432929"/>
            <a:ext cx="2740203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US" sz="1200" dirty="0">
                <a:latin typeface="Intel Clear" panose="020B0604020203020204" pitchFamily="34" charset="0"/>
              </a:rPr>
              <a:t>Access to low-level I/O + Sensor libs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6082906" y="1769824"/>
            <a:ext cx="2965641" cy="43858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US" sz="1200" dirty="0">
                <a:latin typeface="Intel Clear" panose="020B0604020203020204" pitchFamily="34" charset="0"/>
              </a:rPr>
              <a:t>C/C++ tool chain. Eclipse IDE (64-bit) for C/C++ dev on Win, Linux, Mac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983846" y="2173871"/>
            <a:ext cx="3081270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US" sz="1200" dirty="0">
                <a:latin typeface="Intel Clear" panose="020B0604020203020204" pitchFamily="34" charset="0"/>
              </a:rPr>
              <a:t>Node JS Support. Intel® </a:t>
            </a:r>
            <a:r>
              <a:rPr lang="en-US" sz="1200" dirty="0" smtClean="0">
                <a:latin typeface="Intel Clear" panose="020B0604020203020204" pitchFamily="34" charset="0"/>
              </a:rPr>
              <a:t>XDK  </a:t>
            </a:r>
            <a:r>
              <a:rPr lang="en-US" sz="1200" dirty="0">
                <a:latin typeface="Intel Clear" panose="020B0604020203020204" pitchFamily="34" charset="0"/>
              </a:rPr>
              <a:t>IoT Edition</a:t>
            </a:r>
          </a:p>
          <a:p>
            <a:r>
              <a:rPr lang="en-US" sz="1200" dirty="0">
                <a:latin typeface="Intel Clear" panose="020B0604020203020204" pitchFamily="34" charset="0"/>
              </a:rPr>
              <a:t>(Sept 30</a:t>
            </a:r>
            <a:r>
              <a:rPr lang="en-US" sz="1200" baseline="30000" dirty="0">
                <a:latin typeface="Intel Clear" panose="020B0604020203020204" pitchFamily="34" charset="0"/>
              </a:rPr>
              <a:t>th</a:t>
            </a:r>
            <a:r>
              <a:rPr lang="en-US" sz="1200" dirty="0">
                <a:latin typeface="Intel Clear" panose="020B0604020203020204" pitchFamily="34" charset="0"/>
              </a:rPr>
              <a:t> )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082906" y="2646169"/>
            <a:ext cx="2521039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US" sz="1200" dirty="0" smtClean="0">
                <a:latin typeface="Intel Clear" panose="020B0604020203020204" pitchFamily="34" charset="0"/>
              </a:rPr>
              <a:t>Wyliodrin* </a:t>
            </a:r>
            <a:r>
              <a:rPr lang="en-US" sz="1200" dirty="0">
                <a:latin typeface="Intel Clear" panose="020B0604020203020204" pitchFamily="34" charset="0"/>
              </a:rPr>
              <a:t>Component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699734" y="3062560"/>
            <a:ext cx="2521039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US" sz="1200" b="1" i="1" dirty="0">
                <a:latin typeface="Intel Clear" panose="020B0604020203020204" pitchFamily="34" charset="0"/>
              </a:rPr>
              <a:t>Included in Edison S/W stack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2719612" y="3852709"/>
            <a:ext cx="2707667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US" sz="1200" dirty="0">
                <a:latin typeface="Intel Clear" panose="020B0604020203020204" pitchFamily="34" charset="0"/>
              </a:rPr>
              <a:t>Advanced optimization tools for IoT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2717654" y="3470143"/>
            <a:ext cx="2521039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US" sz="1200" dirty="0">
                <a:latin typeface="Intel Clear" panose="020B0604020203020204" pitchFamily="34" charset="0"/>
              </a:rPr>
              <a:t>Future 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6039894" y="3441539"/>
            <a:ext cx="2521039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US" sz="1200" dirty="0">
                <a:latin typeface="Intel Clear" panose="020B0604020203020204" pitchFamily="34" charset="0"/>
              </a:rPr>
              <a:t>Vx </a:t>
            </a:r>
            <a:r>
              <a:rPr lang="en-US" sz="1200" dirty="0" smtClean="0">
                <a:latin typeface="Intel Clear" panose="020B0604020203020204" pitchFamily="34" charset="0"/>
              </a:rPr>
              <a:t>Works* </a:t>
            </a:r>
            <a:r>
              <a:rPr lang="en-US" sz="1200" dirty="0">
                <a:latin typeface="Intel Clear" panose="020B0604020203020204" pitchFamily="34" charset="0"/>
              </a:rPr>
              <a:t>+ Work </a:t>
            </a:r>
            <a:r>
              <a:rPr lang="en-US" sz="1200" dirty="0" smtClean="0">
                <a:latin typeface="Intel Clear" panose="020B0604020203020204" pitchFamily="34" charset="0"/>
              </a:rPr>
              <a:t>bench* </a:t>
            </a:r>
            <a:endParaRPr lang="en-US" sz="1200" dirty="0">
              <a:latin typeface="Intel Clear" panose="020B060402020302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082906" y="3841144"/>
            <a:ext cx="2730544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US" sz="1200" dirty="0">
                <a:latin typeface="Intel Clear" panose="020B0604020203020204" pitchFamily="34" charset="0"/>
              </a:rPr>
              <a:t>Advanced optimization tools for IoT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082906" y="3061537"/>
            <a:ext cx="2521039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US" sz="1200" dirty="0">
                <a:latin typeface="Intel Clear" panose="020B0604020203020204" pitchFamily="34" charset="0"/>
              </a:rPr>
              <a:t>Multi-lib support for </a:t>
            </a:r>
            <a:r>
              <a:rPr lang="en-US" sz="1200" dirty="0" smtClean="0">
                <a:latin typeface="Intel Clear" panose="020B0604020203020204" pitchFamily="34" charset="0"/>
              </a:rPr>
              <a:t>Arduino™</a:t>
            </a:r>
            <a:endParaRPr lang="en-US" sz="1200" dirty="0">
              <a:latin typeface="Intel Clear" panose="020B0604020203020204" pitchFamily="34" charset="0"/>
            </a:endParaRPr>
          </a:p>
        </p:txBody>
      </p:sp>
      <p:sp>
        <p:nvSpPr>
          <p:cNvPr id="53" name="Freeform 99"/>
          <p:cNvSpPr>
            <a:spLocks noChangeAspect="1"/>
          </p:cNvSpPr>
          <p:nvPr>
            <p:custDataLst>
              <p:tags r:id="rId31"/>
            </p:custDataLst>
          </p:nvPr>
        </p:nvSpPr>
        <p:spPr bwMode="gray">
          <a:xfrm>
            <a:off x="5740755" y="3492855"/>
            <a:ext cx="259900" cy="230783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Intel Clear" panose="020B0604020203020204" pitchFamily="34" charset="0"/>
            </a:endParaRPr>
          </a:p>
        </p:txBody>
      </p:sp>
      <p:sp>
        <p:nvSpPr>
          <p:cNvPr id="54" name="Rectangle 108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144538" y="4282686"/>
            <a:ext cx="1434944" cy="230783"/>
          </a:xfrm>
          <a:prstGeom prst="rect">
            <a:avLst/>
          </a:prstGeom>
          <a:ln/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34290" tIns="34290" rIns="34290" bIns="34290" anchor="ctr"/>
          <a:lstStyle/>
          <a:p>
            <a:pPr algn="ctr" defTabSz="671513">
              <a:buClr>
                <a:schemeClr val="tx2"/>
              </a:buClr>
            </a:pPr>
            <a:r>
              <a:rPr lang="en-US" sz="1100" b="1" dirty="0">
                <a:solidFill>
                  <a:schemeClr val="folHlink"/>
                </a:solidFill>
                <a:latin typeface="Intel Clear" panose="020B0604020203020204" pitchFamily="34" charset="0"/>
              </a:rPr>
              <a:t>IoT Cloud Analytics</a:t>
            </a:r>
          </a:p>
        </p:txBody>
      </p:sp>
      <p:cxnSp>
        <p:nvCxnSpPr>
          <p:cNvPr id="55" name="Straight Connector 54"/>
          <p:cNvCxnSpPr>
            <a:cxnSpLocks/>
          </p:cNvCxnSpPr>
          <p:nvPr>
            <p:custDataLst>
              <p:tags r:id="rId33"/>
            </p:custDataLst>
          </p:nvPr>
        </p:nvCxnSpPr>
        <p:spPr bwMode="gray">
          <a:xfrm flipH="1">
            <a:off x="64113" y="4613339"/>
            <a:ext cx="9040968" cy="1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Freeform 99"/>
          <p:cNvSpPr>
            <a:spLocks noChangeAspect="1"/>
          </p:cNvSpPr>
          <p:nvPr>
            <p:custDataLst>
              <p:tags r:id="rId34"/>
            </p:custDataLst>
          </p:nvPr>
        </p:nvSpPr>
        <p:spPr bwMode="gray">
          <a:xfrm>
            <a:off x="2352208" y="4282685"/>
            <a:ext cx="259900" cy="230783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Intel Clear" panose="020B0604020203020204" pitchFamily="34" charset="0"/>
            </a:endParaRPr>
          </a:p>
        </p:txBody>
      </p:sp>
      <p:sp>
        <p:nvSpPr>
          <p:cNvPr id="57" name="Freeform 99"/>
          <p:cNvSpPr>
            <a:spLocks noChangeAspect="1"/>
          </p:cNvSpPr>
          <p:nvPr>
            <p:custDataLst>
              <p:tags r:id="rId35"/>
            </p:custDataLst>
          </p:nvPr>
        </p:nvSpPr>
        <p:spPr bwMode="gray">
          <a:xfrm>
            <a:off x="5779300" y="4273545"/>
            <a:ext cx="259900" cy="230783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Intel Clear" panose="020B0604020203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2699943" y="4226505"/>
            <a:ext cx="2821930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US" sz="1200" dirty="0">
                <a:latin typeface="Intel Clear" panose="020B0604020203020204" pitchFamily="34" charset="0"/>
              </a:rPr>
              <a:t>IoT Cloud Analytics component</a:t>
            </a:r>
          </a:p>
          <a:p>
            <a:r>
              <a:rPr lang="en-US" sz="1200" b="1" i="1" dirty="0">
                <a:latin typeface="Intel Clear" panose="020B0604020203020204" pitchFamily="34" charset="0"/>
              </a:rPr>
              <a:t>- Included in Intel® </a:t>
            </a:r>
            <a:r>
              <a:rPr lang="en-US" sz="1200" b="1" i="1" dirty="0" smtClean="0">
                <a:latin typeface="Intel Clear" panose="020B0604020203020204" pitchFamily="34" charset="0"/>
              </a:rPr>
              <a:t>Edison </a:t>
            </a:r>
            <a:r>
              <a:rPr lang="en-US" sz="1200" b="1" i="1" dirty="0">
                <a:latin typeface="Intel Clear" panose="020B0604020203020204" pitchFamily="34" charset="0"/>
              </a:rPr>
              <a:t>S/W stack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6083115" y="4250412"/>
            <a:ext cx="2521039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US" sz="1200" dirty="0">
                <a:latin typeface="Intel Clear" panose="020B0604020203020204" pitchFamily="34" charset="0"/>
              </a:rPr>
              <a:t>IoT Cloud Analytics component</a:t>
            </a:r>
          </a:p>
        </p:txBody>
      </p:sp>
      <p:sp>
        <p:nvSpPr>
          <p:cNvPr id="60" name="Freeform 99"/>
          <p:cNvSpPr>
            <a:spLocks noChangeAspect="1"/>
          </p:cNvSpPr>
          <p:nvPr>
            <p:custDataLst>
              <p:tags r:id="rId36"/>
            </p:custDataLst>
          </p:nvPr>
        </p:nvSpPr>
        <p:spPr bwMode="gray">
          <a:xfrm>
            <a:off x="2337517" y="2662747"/>
            <a:ext cx="259900" cy="230783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Intel Clear" panose="020B0604020203020204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2675586" y="2639614"/>
            <a:ext cx="2521039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US" sz="1200" dirty="0" smtClean="0">
                <a:latin typeface="Intel Clear" panose="020B0604020203020204" pitchFamily="34" charset="0"/>
              </a:rPr>
              <a:t>Wyliodrin* </a:t>
            </a:r>
            <a:r>
              <a:rPr lang="en-US" sz="1200" dirty="0">
                <a:latin typeface="Intel Clear" panose="020B0604020203020204" pitchFamily="34" charset="0"/>
              </a:rPr>
              <a:t>Component</a:t>
            </a:r>
          </a:p>
        </p:txBody>
      </p:sp>
      <p:sp>
        <p:nvSpPr>
          <p:cNvPr id="62" name="Title 2"/>
          <p:cNvSpPr txBox="1">
            <a:spLocks/>
          </p:cNvSpPr>
          <p:nvPr/>
        </p:nvSpPr>
        <p:spPr>
          <a:xfrm>
            <a:off x="2204297" y="4962279"/>
            <a:ext cx="5341531" cy="225773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Neo Sans Intel Light"/>
                <a:ea typeface="+mj-ea"/>
                <a:cs typeface="+mj-cs"/>
              </a:defRPr>
            </a:lvl1pPr>
          </a:lstStyle>
          <a:p>
            <a:pPr algn="ctr"/>
            <a:r>
              <a:rPr lang="en-GB" sz="900" dirty="0">
                <a:solidFill>
                  <a:schemeClr val="bg1">
                    <a:lumMod val="65000"/>
                  </a:schemeClr>
                </a:solidFill>
                <a:latin typeface="Intel Clear" panose="020B0604020203020204" pitchFamily="34" charset="0"/>
                <a:cs typeface="Neo Sans Intel Light"/>
              </a:rPr>
              <a:t>* Names and brands may be claimed by the property of third party name and the notation.</a:t>
            </a:r>
          </a:p>
        </p:txBody>
      </p:sp>
    </p:spTree>
    <p:extLst>
      <p:ext uri="{BB962C8B-B14F-4D97-AF65-F5344CB8AC3E}">
        <p14:creationId xmlns:p14="http://schemas.microsoft.com/office/powerpoint/2010/main" val="898328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231632" y="38309"/>
            <a:ext cx="8902843" cy="512466"/>
          </a:xfrm>
        </p:spPr>
        <p:txBody>
          <a:bodyPr>
            <a:normAutofit/>
          </a:bodyPr>
          <a:lstStyle/>
          <a:p>
            <a:r>
              <a:rPr lang="en-US" b="1" dirty="0" smtClean="0">
                <a:latin typeface="+mn-lt"/>
              </a:rPr>
              <a:t>Upcoming… Intel</a:t>
            </a:r>
            <a:r>
              <a:rPr lang="en-US" b="1" dirty="0">
                <a:latin typeface="+mn-lt"/>
              </a:rPr>
              <a:t>® Curie™ modul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425109">
            <a:off x="5958342" y="75218"/>
            <a:ext cx="905099" cy="865500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  <a:softEdge rad="0"/>
          </a:effectLst>
        </p:spPr>
      </p:pic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215899" y="1654408"/>
            <a:ext cx="4660901" cy="3084694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0" lvl="1" indent="0">
              <a:spcAft>
                <a:spcPts val="600"/>
              </a:spcAft>
              <a:buNone/>
            </a:pPr>
            <a:r>
              <a:rPr lang="en-US" sz="1600" b="1" dirty="0" smtClean="0">
                <a:solidFill>
                  <a:schemeClr val="tx1"/>
                </a:solidFill>
              </a:rPr>
              <a:t>Board I/O: </a:t>
            </a:r>
            <a:r>
              <a:rPr lang="en-US" sz="1500" dirty="0">
                <a:solidFill>
                  <a:schemeClr val="tx1"/>
                </a:solidFill>
              </a:rPr>
              <a:t>Battery charging </a:t>
            </a:r>
            <a:r>
              <a:rPr lang="en-US" sz="1500" dirty="0" smtClean="0">
                <a:solidFill>
                  <a:schemeClr val="tx1"/>
                </a:solidFill>
              </a:rPr>
              <a:t>circuitry (PMIC)</a:t>
            </a:r>
          </a:p>
          <a:p>
            <a:pPr marL="541338" lvl="1" indent="-274638">
              <a:spcBef>
                <a:spcPts val="600"/>
              </a:spcBef>
              <a:spcAft>
                <a:spcPts val="400"/>
              </a:spcAft>
            </a:pPr>
            <a:r>
              <a:rPr lang="en-US" sz="1400" b="1" dirty="0" smtClean="0">
                <a:solidFill>
                  <a:schemeClr val="tx1"/>
                </a:solidFill>
              </a:rPr>
              <a:t>MCU</a:t>
            </a:r>
            <a:r>
              <a:rPr lang="en-US" sz="1400" dirty="0" smtClean="0">
                <a:solidFill>
                  <a:schemeClr val="tx1"/>
                </a:solidFill>
              </a:rPr>
              <a:t>:</a:t>
            </a:r>
            <a:r>
              <a:rPr lang="en-GB" sz="1400" dirty="0" smtClean="0">
                <a:solidFill>
                  <a:schemeClr val="tx1"/>
                </a:solidFill>
              </a:rPr>
              <a:t> </a:t>
            </a:r>
            <a:r>
              <a:rPr lang="en-GB" sz="1400" dirty="0">
                <a:solidFill>
                  <a:schemeClr val="tx1"/>
                </a:solidFill>
              </a:rPr>
              <a:t>32-bit Intel® </a:t>
            </a:r>
            <a:r>
              <a:rPr lang="en-GB" sz="1400" dirty="0" smtClean="0">
                <a:solidFill>
                  <a:schemeClr val="tx1"/>
                </a:solidFill>
              </a:rPr>
              <a:t>Quark</a:t>
            </a:r>
            <a:r>
              <a:rPr lang="en-GB" sz="1400" dirty="0">
                <a:solidFill>
                  <a:schemeClr val="tx1"/>
                </a:solidFill>
              </a:rPr>
              <a:t>™ </a:t>
            </a:r>
            <a:r>
              <a:rPr lang="en-GB" sz="1400" dirty="0" smtClean="0">
                <a:solidFill>
                  <a:schemeClr val="tx1"/>
                </a:solidFill>
              </a:rPr>
              <a:t>microcontroller</a:t>
            </a:r>
          </a:p>
          <a:p>
            <a:pPr marL="541338" lvl="1" indent="-274638">
              <a:spcBef>
                <a:spcPts val="600"/>
              </a:spcBef>
              <a:spcAft>
                <a:spcPts val="400"/>
              </a:spcAft>
            </a:pPr>
            <a:r>
              <a:rPr lang="en-GB" sz="1400" b="1" dirty="0" smtClean="0">
                <a:solidFill>
                  <a:schemeClr val="tx1"/>
                </a:solidFill>
              </a:rPr>
              <a:t>SRAM: </a:t>
            </a:r>
            <a:r>
              <a:rPr lang="en-GB" sz="1400" dirty="0" smtClean="0">
                <a:solidFill>
                  <a:schemeClr val="tx1"/>
                </a:solidFill>
              </a:rPr>
              <a:t>80kB</a:t>
            </a:r>
          </a:p>
          <a:p>
            <a:pPr marL="541338" lvl="1" indent="-274638">
              <a:spcBef>
                <a:spcPts val="600"/>
              </a:spcBef>
              <a:spcAft>
                <a:spcPts val="400"/>
              </a:spcAft>
            </a:pPr>
            <a:r>
              <a:rPr lang="en-GB" sz="1400" b="1" dirty="0" smtClean="0">
                <a:solidFill>
                  <a:schemeClr val="tx1"/>
                </a:solidFill>
              </a:rPr>
              <a:t>Flash: </a:t>
            </a:r>
            <a:r>
              <a:rPr lang="en-GB" sz="1400" dirty="0" smtClean="0">
                <a:solidFill>
                  <a:schemeClr val="tx1"/>
                </a:solidFill>
              </a:rPr>
              <a:t>384kB</a:t>
            </a:r>
          </a:p>
          <a:p>
            <a:pPr marL="541338" lvl="1" indent="-274638">
              <a:spcBef>
                <a:spcPts val="600"/>
              </a:spcBef>
              <a:spcAft>
                <a:spcPts val="400"/>
              </a:spcAft>
            </a:pPr>
            <a:r>
              <a:rPr lang="en-GB" sz="1400" b="1" dirty="0" smtClean="0">
                <a:solidFill>
                  <a:schemeClr val="tx1"/>
                </a:solidFill>
              </a:rPr>
              <a:t>Bluetooth: </a:t>
            </a:r>
            <a:r>
              <a:rPr lang="en-GB" sz="1400" dirty="0" smtClean="0">
                <a:solidFill>
                  <a:schemeClr val="tx1"/>
                </a:solidFill>
              </a:rPr>
              <a:t>Low Energy</a:t>
            </a:r>
          </a:p>
          <a:p>
            <a:pPr marL="541338" lvl="1" indent="-274638">
              <a:spcBef>
                <a:spcPts val="600"/>
              </a:spcBef>
              <a:spcAft>
                <a:spcPts val="400"/>
              </a:spcAft>
            </a:pPr>
            <a:r>
              <a:rPr lang="en-GB" sz="1400" b="1" dirty="0">
                <a:solidFill>
                  <a:schemeClr val="tx1"/>
                </a:solidFill>
              </a:rPr>
              <a:t>Sensors: </a:t>
            </a:r>
            <a:r>
              <a:rPr lang="en-GB" sz="1200" dirty="0" smtClean="0">
                <a:solidFill>
                  <a:schemeClr val="tx1"/>
                </a:solidFill>
              </a:rPr>
              <a:t>Integrated </a:t>
            </a:r>
            <a:r>
              <a:rPr lang="en-GB" sz="1200" dirty="0">
                <a:solidFill>
                  <a:schemeClr val="tx1"/>
                </a:solidFill>
              </a:rPr>
              <a:t>DSP sensor hub with pattern </a:t>
            </a:r>
            <a:r>
              <a:rPr lang="en-GB" sz="1200" dirty="0" smtClean="0">
                <a:solidFill>
                  <a:schemeClr val="tx1"/>
                </a:solidFill>
              </a:rPr>
              <a:t>matching</a:t>
            </a:r>
            <a:br>
              <a:rPr lang="en-GB" sz="1200" dirty="0" smtClean="0">
                <a:solidFill>
                  <a:schemeClr val="tx1"/>
                </a:solidFill>
              </a:rPr>
            </a:br>
            <a:r>
              <a:rPr lang="en-GB" sz="1200" dirty="0" smtClean="0">
                <a:solidFill>
                  <a:schemeClr val="tx1"/>
                </a:solidFill>
              </a:rPr>
              <a:t>                     </a:t>
            </a:r>
            <a:r>
              <a:rPr lang="en-GB" sz="1200" dirty="0">
                <a:solidFill>
                  <a:schemeClr val="tx1"/>
                </a:solidFill>
              </a:rPr>
              <a:t>6-axis combo sensor (accelerometer and gyroscope</a:t>
            </a:r>
            <a:r>
              <a:rPr lang="en-GB" sz="1200" dirty="0" smtClean="0">
                <a:solidFill>
                  <a:schemeClr val="tx1"/>
                </a:solidFill>
              </a:rPr>
              <a:t>)</a:t>
            </a:r>
          </a:p>
          <a:p>
            <a:pPr marL="541338" lvl="1" indent="-274638">
              <a:spcBef>
                <a:spcPts val="600"/>
              </a:spcBef>
              <a:spcAft>
                <a:spcPts val="400"/>
              </a:spcAft>
            </a:pPr>
            <a:r>
              <a:rPr lang="en-GB" sz="1200" b="1" dirty="0" smtClean="0">
                <a:solidFill>
                  <a:schemeClr val="tx1"/>
                </a:solidFill>
              </a:rPr>
              <a:t>OS</a:t>
            </a:r>
            <a:r>
              <a:rPr lang="en-GB" sz="1200" dirty="0" smtClean="0">
                <a:solidFill>
                  <a:schemeClr val="tx1"/>
                </a:solidFill>
              </a:rPr>
              <a:t>:  Open Source Real-Time OS</a:t>
            </a:r>
          </a:p>
          <a:p>
            <a:pPr marL="541338" lvl="1" indent="-274638">
              <a:spcBef>
                <a:spcPts val="600"/>
              </a:spcBef>
              <a:spcAft>
                <a:spcPts val="400"/>
              </a:spcAft>
            </a:pPr>
            <a:r>
              <a:rPr lang="en-GB" sz="1200" b="1" dirty="0" smtClean="0">
                <a:solidFill>
                  <a:schemeClr val="tx1"/>
                </a:solidFill>
              </a:rPr>
              <a:t>Apps</a:t>
            </a:r>
            <a:r>
              <a:rPr lang="en-GB" sz="1200" dirty="0">
                <a:solidFill>
                  <a:schemeClr val="tx1"/>
                </a:solidFill>
              </a:rPr>
              <a:t>: </a:t>
            </a:r>
            <a:r>
              <a:rPr lang="en-GB" sz="1200" dirty="0">
                <a:solidFill>
                  <a:schemeClr val="tx1"/>
                </a:solidFill>
                <a:hlinkClick r:id="rId4"/>
              </a:rPr>
              <a:t>Intel® IQ Software Kits</a:t>
            </a:r>
            <a:endParaRPr lang="en-GB" sz="1200" dirty="0" smtClean="0">
              <a:solidFill>
                <a:schemeClr val="tx1"/>
              </a:solidFill>
            </a:endParaRPr>
          </a:p>
          <a:p>
            <a:pPr marL="266700" lvl="1" indent="-180975">
              <a:spcBef>
                <a:spcPts val="6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  <a:p>
            <a:pPr marL="85725" lvl="1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en-GB" b="1" dirty="0">
                <a:solidFill>
                  <a:schemeClr val="tx1"/>
                </a:solidFill>
              </a:rPr>
              <a:t>Schedule: </a:t>
            </a:r>
            <a:r>
              <a:rPr lang="en-GB" sz="1500" dirty="0">
                <a:solidFill>
                  <a:srgbClr val="7030A0"/>
                </a:solidFill>
              </a:rPr>
              <a:t>Second Half 2015</a:t>
            </a:r>
            <a:endParaRPr lang="en-US" sz="1500" dirty="0">
              <a:solidFill>
                <a:srgbClr val="7030A0"/>
              </a:solidFill>
            </a:endParaRPr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206374" y="958158"/>
            <a:ext cx="8928101" cy="5257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 smtClean="0">
                <a:latin typeface="+mn-lt"/>
              </a:rPr>
              <a:t>The Intel® Quark</a:t>
            </a:r>
            <a:r>
              <a:rPr lang="en-GB" sz="1600" dirty="0">
                <a:latin typeface="+mn-lt"/>
              </a:rPr>
              <a:t>™ SE </a:t>
            </a:r>
            <a:r>
              <a:rPr lang="en-GB" sz="1600" dirty="0" smtClean="0">
                <a:latin typeface="+mn-lt"/>
              </a:rPr>
              <a:t>SoC is </a:t>
            </a:r>
            <a:r>
              <a:rPr lang="en-GB" sz="1600" dirty="0">
                <a:latin typeface="+mn-lt"/>
              </a:rPr>
              <a:t>the purpose-built </a:t>
            </a:r>
            <a:r>
              <a:rPr lang="en-GB" sz="1600" dirty="0" smtClean="0">
                <a:latin typeface="+mn-lt"/>
              </a:rPr>
              <a:t>designed for Weara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 smtClean="0">
                <a:latin typeface="+mn-lt"/>
              </a:rPr>
              <a:t>Highly integrated tiny low-power and intelligent solution for wearable space. </a:t>
            </a:r>
            <a:endParaRPr lang="en-US" sz="1600" dirty="0">
              <a:latin typeface="+mn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1793068"/>
            <a:ext cx="4126971" cy="2057399"/>
          </a:xfrm>
          <a:prstGeom prst="rect">
            <a:avLst/>
          </a:prstGeom>
        </p:spPr>
      </p:pic>
      <p:sp>
        <p:nvSpPr>
          <p:cNvPr id="10" name="Shape 402"/>
          <p:cNvSpPr/>
          <p:nvPr/>
        </p:nvSpPr>
        <p:spPr>
          <a:xfrm>
            <a:off x="2170561" y="4968016"/>
            <a:ext cx="5412477" cy="215403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lvl="0">
              <a:buSzPct val="25000"/>
            </a:pPr>
            <a:r>
              <a:rPr lang="en-US" sz="800" b="0" i="0" u="none" strike="noStrike" cap="none" baseline="0" dirty="0" smtClean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* </a:t>
            </a:r>
            <a:r>
              <a:rPr lang="en-GB" sz="800" dirty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Intel, the Intel logo, Quark and Curie are trademarks of Intel Corporation in the U.S. and/or other countries.</a:t>
            </a:r>
            <a:r>
              <a:rPr lang="en-US" sz="800" b="0" i="0" u="none" strike="noStrike" cap="none" baseline="0" dirty="0" smtClean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    </a:t>
            </a:r>
            <a:endParaRPr lang="en-US" sz="800" b="0" i="0" u="none" strike="noStrike" cap="none" baseline="0" dirty="0">
              <a:solidFill>
                <a:schemeClr val="bg1">
                  <a:lumMod val="65000"/>
                </a:schemeClr>
              </a:solidFill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17836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3368" y="-14750"/>
            <a:ext cx="9186863" cy="5143500"/>
          </a:xfrm>
          <a:prstGeom prst="rect">
            <a:avLst/>
          </a:prstGeom>
          <a:effectLst>
            <a:softEdge rad="50800"/>
          </a:effectLst>
        </p:spPr>
      </p:pic>
    </p:spTree>
    <p:extLst>
      <p:ext uri="{BB962C8B-B14F-4D97-AF65-F5344CB8AC3E}">
        <p14:creationId xmlns:p14="http://schemas.microsoft.com/office/powerpoint/2010/main" val="1221817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Shape 181"/>
          <p:cNvSpPr txBox="1">
            <a:spLocks noGrp="1"/>
          </p:cNvSpPr>
          <p:nvPr>
            <p:ph type="title"/>
          </p:nvPr>
        </p:nvSpPr>
        <p:spPr>
          <a:xfrm>
            <a:off x="457200" y="157221"/>
            <a:ext cx="8229600" cy="4308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2800" b="1" i="0" u="none" strike="noStrike" cap="none" baseline="0" dirty="0" smtClean="0">
                <a:solidFill>
                  <a:schemeClr val="accent1"/>
                </a:solidFill>
                <a:latin typeface="+mn-lt"/>
                <a:ea typeface="Arial"/>
                <a:cs typeface="Arial"/>
                <a:sym typeface="Arial"/>
              </a:rPr>
              <a:t>Intel</a:t>
            </a:r>
            <a:r>
              <a:rPr lang="en-US" sz="2800" b="1" i="0" u="none" strike="noStrike" cap="none" baseline="0" dirty="0">
                <a:solidFill>
                  <a:schemeClr val="accent1"/>
                </a:solidFill>
                <a:latin typeface="+mn-lt"/>
                <a:ea typeface="Arial"/>
                <a:cs typeface="Arial"/>
                <a:sym typeface="Arial"/>
              </a:rPr>
              <a:t>® </a:t>
            </a:r>
            <a:r>
              <a:rPr lang="en-US" sz="2800" b="1" i="0" u="none" strike="noStrike" cap="none" baseline="0" dirty="0" smtClean="0">
                <a:solidFill>
                  <a:schemeClr val="accent1"/>
                </a:solidFill>
                <a:latin typeface="+mn-lt"/>
                <a:ea typeface="Arial"/>
                <a:cs typeface="Arial"/>
                <a:sym typeface="Arial"/>
              </a:rPr>
              <a:t>Galileo</a:t>
            </a:r>
            <a:r>
              <a:rPr lang="en-US" sz="2800" b="1" i="0" u="none" strike="noStrike" cap="none" dirty="0" smtClean="0">
                <a:solidFill>
                  <a:schemeClr val="accent1"/>
                </a:solidFill>
                <a:latin typeface="+mn-lt"/>
                <a:ea typeface="Arial"/>
                <a:cs typeface="Arial"/>
                <a:sym typeface="Arial"/>
              </a:rPr>
              <a:t> and </a:t>
            </a:r>
            <a:r>
              <a:rPr lang="en-US" sz="2800" b="1" i="0" u="none" strike="noStrike" cap="none" baseline="0" dirty="0" smtClean="0">
                <a:solidFill>
                  <a:schemeClr val="accent1"/>
                </a:solidFill>
                <a:latin typeface="+mn-lt"/>
                <a:ea typeface="Arial"/>
                <a:cs typeface="Arial"/>
                <a:sym typeface="Arial"/>
              </a:rPr>
              <a:t>Edison™</a:t>
            </a:r>
            <a:endParaRPr lang="en-US" sz="2800" b="1" i="0" u="none" strike="noStrike" cap="none" baseline="0" dirty="0">
              <a:solidFill>
                <a:schemeClr val="accent1"/>
              </a:solid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4" name="Shape 182"/>
          <p:cNvSpPr txBox="1"/>
          <p:nvPr/>
        </p:nvSpPr>
        <p:spPr>
          <a:xfrm>
            <a:off x="0" y="2281675"/>
            <a:ext cx="925871" cy="25387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050" b="1" i="0" u="none" strike="noStrike" cap="none" baseline="0" dirty="0">
                <a:ea typeface="Arial"/>
                <a:cs typeface="Arial"/>
                <a:sym typeface="Arial"/>
              </a:rPr>
              <a:t>Hardware</a:t>
            </a:r>
          </a:p>
        </p:txBody>
      </p:sp>
      <p:sp>
        <p:nvSpPr>
          <p:cNvPr id="5" name="Shape 183"/>
          <p:cNvSpPr txBox="1"/>
          <p:nvPr/>
        </p:nvSpPr>
        <p:spPr>
          <a:xfrm>
            <a:off x="1065162" y="2139223"/>
            <a:ext cx="7275870" cy="246220"/>
          </a:xfrm>
          <a:prstGeom prst="rect">
            <a:avLst/>
          </a:prstGeom>
          <a:solidFill>
            <a:schemeClr val="lt1"/>
          </a:solidFill>
          <a:ln w="12700" cap="flat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spAutoFit/>
          </a:bodyPr>
          <a:lstStyle/>
          <a:p>
            <a:pPr lvl="0" algn="ctr">
              <a:buSzPct val="25000"/>
            </a:pPr>
            <a:r>
              <a:rPr lang="en-US" sz="1000" b="1" dirty="0">
                <a:ea typeface="Arial"/>
                <a:cs typeface="Arial"/>
                <a:sym typeface="Arial"/>
              </a:rPr>
              <a:t>Intel® </a:t>
            </a:r>
            <a:r>
              <a:rPr lang="en-US" sz="1000" b="1" i="0" u="none" strike="noStrike" cap="none" baseline="0" dirty="0" smtClean="0">
                <a:ea typeface="Arial"/>
                <a:cs typeface="Arial"/>
                <a:sym typeface="Arial"/>
              </a:rPr>
              <a:t>Galileo and Edison </a:t>
            </a:r>
            <a:r>
              <a:rPr lang="en-US" sz="1000" b="1" i="0" u="none" strike="noStrike" cap="none" baseline="0" dirty="0">
                <a:ea typeface="Arial"/>
                <a:cs typeface="Arial"/>
                <a:sym typeface="Arial"/>
              </a:rPr>
              <a:t>Module + Derivatives</a:t>
            </a:r>
          </a:p>
        </p:txBody>
      </p:sp>
      <p:sp>
        <p:nvSpPr>
          <p:cNvPr id="6" name="Shape 184"/>
          <p:cNvSpPr txBox="1"/>
          <p:nvPr/>
        </p:nvSpPr>
        <p:spPr>
          <a:xfrm>
            <a:off x="1065162" y="2493767"/>
            <a:ext cx="7275870" cy="246220"/>
          </a:xfrm>
          <a:prstGeom prst="rect">
            <a:avLst/>
          </a:prstGeom>
          <a:solidFill>
            <a:schemeClr val="lt1"/>
          </a:solidFill>
          <a:ln w="12700" cap="flat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000" b="1" i="0" u="none" strike="noStrike" cap="none" baseline="0" dirty="0">
                <a:ea typeface="Arial"/>
                <a:cs typeface="Arial"/>
                <a:sym typeface="Arial"/>
              </a:rPr>
              <a:t>Expansion Boards</a:t>
            </a:r>
          </a:p>
        </p:txBody>
      </p:sp>
      <p:sp>
        <p:nvSpPr>
          <p:cNvPr id="7" name="Shape 185"/>
          <p:cNvSpPr txBox="1"/>
          <p:nvPr/>
        </p:nvSpPr>
        <p:spPr>
          <a:xfrm>
            <a:off x="0" y="2945833"/>
            <a:ext cx="925871" cy="25387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050" b="1" i="0" u="none" strike="noStrike" cap="none" baseline="0" dirty="0">
                <a:ea typeface="Arial"/>
                <a:cs typeface="Arial"/>
                <a:sym typeface="Arial"/>
              </a:rPr>
              <a:t>Software</a:t>
            </a:r>
          </a:p>
        </p:txBody>
      </p:sp>
      <p:sp>
        <p:nvSpPr>
          <p:cNvPr id="8" name="Shape 186"/>
          <p:cNvSpPr txBox="1"/>
          <p:nvPr/>
        </p:nvSpPr>
        <p:spPr>
          <a:xfrm>
            <a:off x="1061884" y="2971850"/>
            <a:ext cx="7275870" cy="246220"/>
          </a:xfrm>
          <a:prstGeom prst="rect">
            <a:avLst/>
          </a:prstGeom>
          <a:solidFill>
            <a:schemeClr val="lt1"/>
          </a:solidFill>
          <a:ln w="12700" cap="flat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000" b="1" i="0" u="none" strike="noStrike" cap="none" baseline="0" dirty="0">
                <a:ea typeface="Arial"/>
                <a:cs typeface="Arial"/>
                <a:sym typeface="Arial"/>
              </a:rPr>
              <a:t>Yocto </a:t>
            </a:r>
            <a:r>
              <a:rPr lang="en-US" sz="1000" b="1" i="0" u="none" strike="noStrike" cap="none" baseline="0" dirty="0" smtClean="0">
                <a:ea typeface="Arial"/>
                <a:cs typeface="Arial"/>
                <a:sym typeface="Arial"/>
              </a:rPr>
              <a:t>Project Poky Linux* + </a:t>
            </a:r>
            <a:r>
              <a:rPr lang="en-US" sz="1000" b="1" i="0" u="none" strike="noStrike" cap="none" baseline="0" dirty="0">
                <a:ea typeface="Arial"/>
                <a:cs typeface="Arial"/>
                <a:sym typeface="Arial"/>
              </a:rPr>
              <a:t>Various Runtimes, IDE &amp; Developer Tools</a:t>
            </a:r>
          </a:p>
        </p:txBody>
      </p:sp>
      <p:sp>
        <p:nvSpPr>
          <p:cNvPr id="9" name="Shape 187"/>
          <p:cNvSpPr txBox="1"/>
          <p:nvPr/>
        </p:nvSpPr>
        <p:spPr>
          <a:xfrm>
            <a:off x="15763" y="4278835"/>
            <a:ext cx="925871" cy="25387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050" b="1" i="0" u="none" strike="noStrike" cap="none" baseline="0" dirty="0">
                <a:ea typeface="Arial"/>
                <a:cs typeface="Arial"/>
                <a:sym typeface="Arial"/>
              </a:rPr>
              <a:t>Ecosystem</a:t>
            </a:r>
          </a:p>
        </p:txBody>
      </p:sp>
      <p:sp>
        <p:nvSpPr>
          <p:cNvPr id="10" name="Shape 188"/>
          <p:cNvSpPr txBox="1"/>
          <p:nvPr/>
        </p:nvSpPr>
        <p:spPr>
          <a:xfrm>
            <a:off x="1077504" y="4332626"/>
            <a:ext cx="7275871" cy="246220"/>
          </a:xfrm>
          <a:prstGeom prst="rect">
            <a:avLst/>
          </a:prstGeom>
          <a:solidFill>
            <a:schemeClr val="lt1"/>
          </a:solidFill>
          <a:ln w="12700" cap="flat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000" b="1" i="0" u="none" strike="noStrike" cap="none" baseline="0" dirty="0">
                <a:ea typeface="Arial"/>
                <a:cs typeface="Arial"/>
                <a:sym typeface="Arial"/>
              </a:rPr>
              <a:t>ISVs, Incubators, Crowd Source funders &amp; SIs  </a:t>
            </a:r>
          </a:p>
        </p:txBody>
      </p:sp>
      <p:cxnSp>
        <p:nvCxnSpPr>
          <p:cNvPr id="11" name="Shape 189"/>
          <p:cNvCxnSpPr/>
          <p:nvPr/>
        </p:nvCxnSpPr>
        <p:spPr>
          <a:xfrm>
            <a:off x="930483" y="2074741"/>
            <a:ext cx="9939" cy="2619618"/>
          </a:xfrm>
          <a:prstGeom prst="straightConnector1">
            <a:avLst/>
          </a:prstGeom>
          <a:noFill/>
          <a:ln w="9525" cap="flat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2" name="Shape 190"/>
          <p:cNvSpPr txBox="1"/>
          <p:nvPr/>
        </p:nvSpPr>
        <p:spPr>
          <a:xfrm>
            <a:off x="13494" y="3820773"/>
            <a:ext cx="925871" cy="25387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050" b="1" i="0" u="none" strike="noStrike" cap="none" baseline="0" dirty="0">
                <a:ea typeface="Arial"/>
                <a:cs typeface="Arial"/>
                <a:sym typeface="Arial"/>
              </a:rPr>
              <a:t>Support</a:t>
            </a:r>
          </a:p>
        </p:txBody>
      </p:sp>
      <p:sp>
        <p:nvSpPr>
          <p:cNvPr id="13" name="Shape 191"/>
          <p:cNvSpPr txBox="1"/>
          <p:nvPr/>
        </p:nvSpPr>
        <p:spPr>
          <a:xfrm>
            <a:off x="1073354" y="3849105"/>
            <a:ext cx="7267677" cy="246220"/>
          </a:xfrm>
          <a:prstGeom prst="rect">
            <a:avLst/>
          </a:prstGeom>
          <a:solidFill>
            <a:schemeClr val="lt1"/>
          </a:solidFill>
          <a:ln w="12700" cap="flat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000" b="1" i="0" u="none" strike="noStrike" cap="none" baseline="0" dirty="0">
                <a:ea typeface="Arial"/>
                <a:cs typeface="Arial"/>
                <a:sym typeface="Arial"/>
              </a:rPr>
              <a:t>Managed on-line community, trouble ticketing, drawings, schematics, datasheets, code libraries, webinars, etc.  </a:t>
            </a:r>
          </a:p>
        </p:txBody>
      </p:sp>
      <p:sp>
        <p:nvSpPr>
          <p:cNvPr id="14" name="Shape 195"/>
          <p:cNvSpPr/>
          <p:nvPr/>
        </p:nvSpPr>
        <p:spPr>
          <a:xfrm>
            <a:off x="2427460" y="963447"/>
            <a:ext cx="1981166" cy="827636"/>
          </a:xfrm>
          <a:prstGeom prst="rect">
            <a:avLst/>
          </a:prstGeom>
          <a:solidFill>
            <a:schemeClr val="lt1"/>
          </a:solidFill>
          <a:ln w="9525" cap="flat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baseline="0" dirty="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5" name="Shape 19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696687" y="980415"/>
            <a:ext cx="570242" cy="74198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Shape 197"/>
          <p:cNvSpPr/>
          <p:nvPr/>
        </p:nvSpPr>
        <p:spPr>
          <a:xfrm>
            <a:off x="2447602" y="1118441"/>
            <a:ext cx="1294522" cy="52318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0" i="0" u="none" strike="noStrike" cap="none" baseline="0" dirty="0">
                <a:solidFill>
                  <a:schemeClr val="dk1"/>
                </a:solidFill>
                <a:ea typeface="Arial"/>
                <a:cs typeface="Arial"/>
                <a:sym typeface="Arial"/>
              </a:rPr>
              <a:t>Pro-Maker &amp; Entrepreneur</a:t>
            </a:r>
          </a:p>
        </p:txBody>
      </p:sp>
      <p:sp>
        <p:nvSpPr>
          <p:cNvPr id="17" name="Shape 199"/>
          <p:cNvSpPr/>
          <p:nvPr/>
        </p:nvSpPr>
        <p:spPr>
          <a:xfrm>
            <a:off x="503405" y="984385"/>
            <a:ext cx="1850170" cy="785760"/>
          </a:xfrm>
          <a:prstGeom prst="rect">
            <a:avLst/>
          </a:prstGeom>
          <a:solidFill>
            <a:schemeClr val="lt1"/>
          </a:solidFill>
          <a:ln w="9525" cap="flat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baseline="0" dirty="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8" name="Shape 20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605544" y="991173"/>
            <a:ext cx="748030" cy="774786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Shape 201"/>
          <p:cNvSpPr/>
          <p:nvPr/>
        </p:nvSpPr>
        <p:spPr>
          <a:xfrm>
            <a:off x="570021" y="1024535"/>
            <a:ext cx="1363303" cy="738623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>
              <a:buSzPct val="25000"/>
            </a:pPr>
            <a:r>
              <a:rPr lang="en-GB" sz="1400" dirty="0">
                <a:solidFill>
                  <a:schemeClr val="dk1"/>
                </a:solidFill>
                <a:ea typeface="Arial"/>
                <a:cs typeface="Arial"/>
                <a:sym typeface="Arial"/>
              </a:rPr>
              <a:t>Students</a:t>
            </a:r>
            <a:endParaRPr lang="en-US" sz="1400" dirty="0">
              <a:solidFill>
                <a:schemeClr val="dk1"/>
              </a:solidFill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GB" sz="1400" b="0" i="0" u="none" strike="noStrike" cap="none" baseline="0" dirty="0" smtClean="0">
                <a:solidFill>
                  <a:schemeClr val="dk1"/>
                </a:solidFill>
                <a:ea typeface="Arial"/>
                <a:cs typeface="Arial"/>
                <a:sym typeface="Arial"/>
              </a:rPr>
              <a:t>Hobbyist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0" i="0" u="none" strike="noStrike" cap="none" baseline="0" dirty="0" smtClean="0">
                <a:solidFill>
                  <a:schemeClr val="dk1"/>
                </a:solidFill>
                <a:ea typeface="Arial"/>
                <a:cs typeface="Arial"/>
                <a:sym typeface="Arial"/>
              </a:rPr>
              <a:t>Maker </a:t>
            </a:r>
            <a:endParaRPr lang="en-US" sz="1400" b="0" i="0" u="none" strike="noStrike" cap="none" baseline="0" dirty="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grpSp>
        <p:nvGrpSpPr>
          <p:cNvPr id="20" name="Shape 203"/>
          <p:cNvGrpSpPr/>
          <p:nvPr/>
        </p:nvGrpSpPr>
        <p:grpSpPr>
          <a:xfrm>
            <a:off x="4504068" y="968346"/>
            <a:ext cx="1940791" cy="786152"/>
            <a:chOff x="4637815" y="1006848"/>
            <a:chExt cx="2104747" cy="551866"/>
          </a:xfrm>
        </p:grpSpPr>
        <p:sp>
          <p:nvSpPr>
            <p:cNvPr id="21" name="Shape 204"/>
            <p:cNvSpPr/>
            <p:nvPr/>
          </p:nvSpPr>
          <p:spPr>
            <a:xfrm>
              <a:off x="4637815" y="1006848"/>
              <a:ext cx="2104747" cy="551866"/>
            </a:xfrm>
            <a:prstGeom prst="rect">
              <a:avLst/>
            </a:prstGeom>
            <a:solidFill>
              <a:schemeClr val="lt1"/>
            </a:solidFill>
            <a:ln w="9525" cap="flat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45700" rIns="91425" bIns="45700" anchor="ctr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baseline="0" dirty="0">
                <a:solidFill>
                  <a:schemeClr val="dk1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22" name="Shape 205"/>
            <p:cNvSpPr/>
            <p:nvPr/>
          </p:nvSpPr>
          <p:spPr>
            <a:xfrm>
              <a:off x="4715441" y="1138642"/>
              <a:ext cx="1273408" cy="3672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SzPct val="25000"/>
                <a:buNone/>
              </a:pPr>
              <a:r>
                <a:rPr lang="en-US" sz="1400" b="0" i="0" u="none" strike="noStrike" cap="none" baseline="0" dirty="0">
                  <a:solidFill>
                    <a:schemeClr val="dk1"/>
                  </a:solidFill>
                  <a:ea typeface="Arial"/>
                  <a:cs typeface="Arial"/>
                  <a:sym typeface="Arial"/>
                </a:rPr>
                <a:t>Consumer</a:t>
              </a: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SzPct val="25000"/>
                <a:buNone/>
              </a:pPr>
              <a:r>
                <a:rPr lang="en-US" sz="1400" b="0" i="0" u="none" strike="noStrike" cap="none" baseline="0" dirty="0">
                  <a:solidFill>
                    <a:schemeClr val="dk1"/>
                  </a:solidFill>
                  <a:ea typeface="Arial"/>
                  <a:cs typeface="Arial"/>
                  <a:sym typeface="Arial"/>
                </a:rPr>
                <a:t>IoT</a:t>
              </a:r>
            </a:p>
          </p:txBody>
        </p:sp>
      </p:grpSp>
      <p:pic>
        <p:nvPicPr>
          <p:cNvPr id="23" name="Shape 206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616528" y="1017824"/>
            <a:ext cx="677523" cy="677523"/>
          </a:xfrm>
          <a:prstGeom prst="rect">
            <a:avLst/>
          </a:prstGeom>
          <a:noFill/>
          <a:ln>
            <a:noFill/>
          </a:ln>
        </p:spPr>
      </p:pic>
      <p:sp>
        <p:nvSpPr>
          <p:cNvPr id="24" name="Shape 208"/>
          <p:cNvSpPr/>
          <p:nvPr/>
        </p:nvSpPr>
        <p:spPr>
          <a:xfrm>
            <a:off x="6516438" y="971320"/>
            <a:ext cx="1961205" cy="798825"/>
          </a:xfrm>
          <a:prstGeom prst="rect">
            <a:avLst/>
          </a:prstGeom>
          <a:solidFill>
            <a:schemeClr val="lt1"/>
          </a:solidFill>
          <a:ln w="9525" cap="flat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baseline="0" dirty="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5" name="Shape 209"/>
          <p:cNvSpPr/>
          <p:nvPr/>
        </p:nvSpPr>
        <p:spPr>
          <a:xfrm>
            <a:off x="6790740" y="875510"/>
            <a:ext cx="1891088" cy="1138733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 baseline="0" dirty="0">
              <a:solidFill>
                <a:schemeClr val="dk1"/>
              </a:solidFill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0" i="0" u="none" strike="noStrike" cap="none" baseline="0" dirty="0">
                <a:solidFill>
                  <a:schemeClr val="dk1"/>
                </a:solidFill>
                <a:ea typeface="Arial"/>
                <a:cs typeface="Arial"/>
                <a:sym typeface="Arial"/>
              </a:rPr>
              <a:t>Light Ind. 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0" i="0" u="none" strike="noStrike" cap="none" baseline="0" dirty="0">
                <a:solidFill>
                  <a:schemeClr val="dk1"/>
                </a:solidFill>
                <a:ea typeface="Arial"/>
                <a:cs typeface="Arial"/>
                <a:sym typeface="Arial"/>
              </a:rPr>
              <a:t>IoT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endParaRPr lang="en-US" sz="600" b="0" i="1" u="none" strike="noStrike" cap="none" baseline="0" dirty="0" smtClean="0">
              <a:solidFill>
                <a:schemeClr val="dk1"/>
              </a:solidFill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600" b="0" i="1" u="none" strike="noStrike" cap="none" baseline="0" dirty="0" smtClean="0">
                <a:solidFill>
                  <a:schemeClr val="dk1"/>
                </a:solidFill>
                <a:ea typeface="Arial"/>
                <a:cs typeface="Arial"/>
                <a:sym typeface="Arial"/>
              </a:rPr>
              <a:t>No extended  temp </a:t>
            </a:r>
            <a:r>
              <a:rPr lang="en-US" sz="600" b="0" i="1" u="none" strike="noStrike" cap="none" baseline="0" dirty="0">
                <a:solidFill>
                  <a:schemeClr val="dk1"/>
                </a:solidFill>
                <a:ea typeface="Arial"/>
                <a:cs typeface="Arial"/>
                <a:sym typeface="Arial"/>
              </a:rPr>
              <a:t>or life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0" i="0" u="none" strike="noStrike" cap="none" baseline="0" dirty="0">
                <a:solidFill>
                  <a:schemeClr val="dk1"/>
                </a:solidFill>
                <a:ea typeface="Arial"/>
                <a:cs typeface="Arial"/>
                <a:sym typeface="Arial"/>
              </a:rPr>
              <a:t> </a:t>
            </a:r>
          </a:p>
        </p:txBody>
      </p:sp>
      <p:pic>
        <p:nvPicPr>
          <p:cNvPr id="26" name="Shape 210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744570" y="1024536"/>
            <a:ext cx="657293" cy="670812"/>
          </a:xfrm>
          <a:prstGeom prst="rect">
            <a:avLst/>
          </a:prstGeom>
          <a:noFill/>
          <a:ln>
            <a:noFill/>
          </a:ln>
        </p:spPr>
      </p:pic>
      <p:sp>
        <p:nvSpPr>
          <p:cNvPr id="27" name="Shape 211"/>
          <p:cNvSpPr txBox="1"/>
          <p:nvPr/>
        </p:nvSpPr>
        <p:spPr>
          <a:xfrm>
            <a:off x="18402" y="3379803"/>
            <a:ext cx="925871" cy="25387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050" b="1" i="0" u="none" strike="noStrike" cap="none" baseline="0" dirty="0">
                <a:ea typeface="Arial"/>
                <a:cs typeface="Arial"/>
                <a:sym typeface="Arial"/>
              </a:rPr>
              <a:t>Cloud</a:t>
            </a:r>
          </a:p>
        </p:txBody>
      </p:sp>
      <p:sp>
        <p:nvSpPr>
          <p:cNvPr id="28" name="Shape 212"/>
          <p:cNvSpPr txBox="1"/>
          <p:nvPr/>
        </p:nvSpPr>
        <p:spPr>
          <a:xfrm>
            <a:off x="1078262" y="3392060"/>
            <a:ext cx="7267677" cy="246220"/>
          </a:xfrm>
          <a:prstGeom prst="rect">
            <a:avLst/>
          </a:prstGeom>
          <a:solidFill>
            <a:schemeClr val="lt1"/>
          </a:solidFill>
          <a:ln w="12700" cap="flat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000" b="1" i="0" u="none" strike="noStrike" cap="none" baseline="0" dirty="0">
                <a:ea typeface="Arial"/>
                <a:cs typeface="Arial"/>
                <a:sym typeface="Arial"/>
              </a:rPr>
              <a:t>Developer cloud solution and partner-based solutions for scale</a:t>
            </a:r>
          </a:p>
        </p:txBody>
      </p:sp>
      <p:sp>
        <p:nvSpPr>
          <p:cNvPr id="29" name="Shape 402"/>
          <p:cNvSpPr/>
          <p:nvPr/>
        </p:nvSpPr>
        <p:spPr>
          <a:xfrm>
            <a:off x="2273096" y="4968698"/>
            <a:ext cx="5412477" cy="215403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800" b="0" i="0" u="none" strike="noStrike" cap="none" baseline="0" dirty="0" smtClean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* Names </a:t>
            </a:r>
            <a:r>
              <a:rPr lang="en-US" sz="800" b="0" i="0" u="none" strike="noStrike" cap="none" baseline="0" dirty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and brands may be claimed by the property of </a:t>
            </a:r>
            <a:r>
              <a:rPr lang="en-US" sz="800" b="0" i="0" u="none" strike="noStrike" cap="none" baseline="0" dirty="0" smtClean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third </a:t>
            </a:r>
            <a:r>
              <a:rPr lang="en-US" sz="800" b="0" i="0" u="none" strike="noStrike" cap="none" baseline="0" dirty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party name and the notation</a:t>
            </a:r>
            <a:r>
              <a:rPr lang="en-US" sz="800" b="0" i="0" u="none" strike="noStrike" cap="none" baseline="0" dirty="0" smtClean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.</a:t>
            </a:r>
            <a:endParaRPr lang="en-US" sz="800" b="0" i="0" u="none" strike="noStrike" cap="none" baseline="0" dirty="0">
              <a:solidFill>
                <a:schemeClr val="bg1">
                  <a:lumMod val="65000"/>
                </a:schemeClr>
              </a:solidFill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25454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1950" y="1866900"/>
            <a:ext cx="4795043" cy="2700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4"/>
          <p:cNvSpPr>
            <a:spLocks noGrp="1"/>
          </p:cNvSpPr>
          <p:nvPr>
            <p:ph type="title"/>
          </p:nvPr>
        </p:nvSpPr>
        <p:spPr>
          <a:xfrm>
            <a:off x="188574" y="74797"/>
            <a:ext cx="8229600" cy="416783"/>
          </a:xfrm>
        </p:spPr>
        <p:txBody>
          <a:bodyPr/>
          <a:lstStyle/>
          <a:p>
            <a:r>
              <a:rPr lang="en-US" b="1" dirty="0" smtClean="0">
                <a:latin typeface="+mn-lt"/>
              </a:rPr>
              <a:t>Intel Galileo Development Board</a:t>
            </a:r>
            <a:endParaRPr lang="en-US" b="1" dirty="0">
              <a:latin typeface="+mn-lt"/>
            </a:endParaRPr>
          </a:p>
        </p:txBody>
      </p:sp>
      <p:sp>
        <p:nvSpPr>
          <p:cNvPr id="5" name="Content Placeholder 5"/>
          <p:cNvSpPr>
            <a:spLocks noGrp="1"/>
          </p:cNvSpPr>
          <p:nvPr>
            <p:ph idx="4294967295"/>
          </p:nvPr>
        </p:nvSpPr>
        <p:spPr>
          <a:xfrm>
            <a:off x="260910" y="1475470"/>
            <a:ext cx="4536387" cy="326035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lvl="1" indent="0">
              <a:spcAft>
                <a:spcPts val="600"/>
              </a:spcAft>
              <a:buNone/>
            </a:pPr>
            <a:r>
              <a:rPr lang="en-US" sz="1600" b="1" dirty="0" smtClean="0">
                <a:solidFill>
                  <a:schemeClr val="tx1"/>
                </a:solidFill>
              </a:rPr>
              <a:t>Board I/O: </a:t>
            </a:r>
            <a:r>
              <a:rPr lang="en-US" dirty="0" smtClean="0">
                <a:solidFill>
                  <a:schemeClr val="tx1"/>
                </a:solidFill>
              </a:rPr>
              <a:t>Compatible </a:t>
            </a:r>
            <a:r>
              <a:rPr lang="en-US" dirty="0">
                <a:solidFill>
                  <a:schemeClr val="tx1"/>
                </a:solidFill>
              </a:rPr>
              <a:t>with Arduino </a:t>
            </a:r>
            <a:r>
              <a:rPr lang="en-US" dirty="0" smtClean="0">
                <a:solidFill>
                  <a:schemeClr val="tx1"/>
                </a:solidFill>
              </a:rPr>
              <a:t>Uno </a:t>
            </a:r>
          </a:p>
          <a:p>
            <a:pPr marL="266700" lvl="1" indent="-180975">
              <a:spcBef>
                <a:spcPts val="600"/>
              </a:spcBef>
              <a:spcAft>
                <a:spcPts val="4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20 </a:t>
            </a:r>
            <a:r>
              <a:rPr lang="en-US" sz="1400" dirty="0">
                <a:solidFill>
                  <a:schemeClr val="tx1"/>
                </a:solidFill>
              </a:rPr>
              <a:t>digital </a:t>
            </a:r>
            <a:r>
              <a:rPr lang="en-US" sz="1400" dirty="0" smtClean="0">
                <a:solidFill>
                  <a:schemeClr val="tx1"/>
                </a:solidFill>
              </a:rPr>
              <a:t>I/O pins </a:t>
            </a:r>
            <a:r>
              <a:rPr lang="en-US" sz="1400" dirty="0">
                <a:solidFill>
                  <a:schemeClr val="tx1"/>
                </a:solidFill>
              </a:rPr>
              <a:t>including </a:t>
            </a:r>
            <a:r>
              <a:rPr lang="en-US" sz="1400" dirty="0" smtClean="0">
                <a:solidFill>
                  <a:schemeClr val="tx1"/>
                </a:solidFill>
              </a:rPr>
              <a:t>6 </a:t>
            </a:r>
            <a:r>
              <a:rPr lang="en-US" sz="1400" dirty="0">
                <a:solidFill>
                  <a:schemeClr val="tx1"/>
                </a:solidFill>
              </a:rPr>
              <a:t>pins </a:t>
            </a:r>
            <a:r>
              <a:rPr lang="en-US" sz="1400" b="1" dirty="0" smtClean="0">
                <a:solidFill>
                  <a:schemeClr val="tx1"/>
                </a:solidFill>
              </a:rPr>
              <a:t>10-bit PWM</a:t>
            </a:r>
            <a:endParaRPr lang="en-US" sz="1400" b="1" dirty="0">
              <a:solidFill>
                <a:schemeClr val="tx1"/>
              </a:solidFill>
            </a:endParaRPr>
          </a:p>
          <a:p>
            <a:pPr marL="266700" lvl="1" indent="-180975">
              <a:spcBef>
                <a:spcPts val="0"/>
              </a:spcBef>
              <a:spcAft>
                <a:spcPts val="400"/>
              </a:spcAft>
            </a:pPr>
            <a:r>
              <a:rPr lang="en-US" sz="1400" dirty="0">
                <a:solidFill>
                  <a:schemeClr val="tx1"/>
                </a:solidFill>
              </a:rPr>
              <a:t>6 analog inputs</a:t>
            </a:r>
          </a:p>
          <a:p>
            <a:pPr marL="266700" lvl="1" indent="-180975">
              <a:spcBef>
                <a:spcPts val="0"/>
              </a:spcBef>
              <a:spcAft>
                <a:spcPts val="4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2 </a:t>
            </a:r>
            <a:r>
              <a:rPr lang="en-US" sz="1400" dirty="0">
                <a:solidFill>
                  <a:schemeClr val="tx1"/>
                </a:solidFill>
              </a:rPr>
              <a:t>UART (RX/TX)</a:t>
            </a:r>
          </a:p>
          <a:p>
            <a:pPr marL="266700" lvl="1" indent="-180975">
              <a:spcBef>
                <a:spcPts val="0"/>
              </a:spcBef>
              <a:spcAft>
                <a:spcPts val="400"/>
              </a:spcAft>
            </a:pPr>
            <a:r>
              <a:rPr lang="en-US" sz="1400" dirty="0">
                <a:solidFill>
                  <a:schemeClr val="tx1"/>
                </a:solidFill>
              </a:rPr>
              <a:t>1 I2C</a:t>
            </a:r>
          </a:p>
          <a:p>
            <a:pPr marL="266700" lvl="1" indent="-180975">
              <a:spcBef>
                <a:spcPts val="0"/>
              </a:spcBef>
              <a:spcAft>
                <a:spcPts val="400"/>
              </a:spcAft>
            </a:pPr>
            <a:r>
              <a:rPr lang="en-US" sz="1400" dirty="0">
                <a:solidFill>
                  <a:schemeClr val="tx1"/>
                </a:solidFill>
              </a:rPr>
              <a:t>1 ICSP 6-pin header (SPI)</a:t>
            </a:r>
          </a:p>
          <a:p>
            <a:pPr marL="266700" lvl="1" indent="-180975">
              <a:spcBef>
                <a:spcPts val="0"/>
              </a:spcBef>
              <a:spcAft>
                <a:spcPts val="4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USB </a:t>
            </a:r>
            <a:r>
              <a:rPr lang="en-US" sz="1400" dirty="0">
                <a:solidFill>
                  <a:schemeClr val="tx1"/>
                </a:solidFill>
              </a:rPr>
              <a:t>device connector </a:t>
            </a:r>
            <a:r>
              <a:rPr lang="en-US" sz="1400" dirty="0" smtClean="0">
                <a:solidFill>
                  <a:schemeClr val="tx1"/>
                </a:solidFill>
              </a:rPr>
              <a:t>(Host)</a:t>
            </a:r>
          </a:p>
          <a:p>
            <a:pPr marL="266700" lvl="1" indent="-180975">
              <a:spcBef>
                <a:spcPts val="0"/>
              </a:spcBef>
              <a:spcAft>
                <a:spcPts val="4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Micro </a:t>
            </a:r>
            <a:r>
              <a:rPr lang="en-US" sz="1400" dirty="0">
                <a:solidFill>
                  <a:schemeClr val="tx1"/>
                </a:solidFill>
              </a:rPr>
              <a:t>USB device </a:t>
            </a:r>
            <a:r>
              <a:rPr lang="en-US" sz="1400" dirty="0" smtClean="0">
                <a:solidFill>
                  <a:schemeClr val="tx1"/>
                </a:solidFill>
              </a:rPr>
              <a:t>connector (client)</a:t>
            </a:r>
            <a:endParaRPr lang="en-US" sz="1400" dirty="0">
              <a:solidFill>
                <a:schemeClr val="tx1"/>
              </a:solidFill>
            </a:endParaRPr>
          </a:p>
          <a:p>
            <a:pPr marL="266700" lvl="1" indent="-180975">
              <a:spcBef>
                <a:spcPts val="0"/>
              </a:spcBef>
              <a:spcAft>
                <a:spcPts val="400"/>
              </a:spcAft>
            </a:pPr>
            <a:r>
              <a:rPr lang="en-US" sz="1400" dirty="0">
                <a:solidFill>
                  <a:schemeClr val="tx1"/>
                </a:solidFill>
              </a:rPr>
              <a:t>SD Card </a:t>
            </a:r>
            <a:r>
              <a:rPr lang="en-US" sz="1400" dirty="0" smtClean="0">
                <a:solidFill>
                  <a:schemeClr val="tx1"/>
                </a:solidFill>
              </a:rPr>
              <a:t>connector</a:t>
            </a:r>
          </a:p>
          <a:p>
            <a:pPr marL="266700" lvl="1" indent="-180975">
              <a:spcBef>
                <a:spcPts val="0"/>
              </a:spcBef>
              <a:spcAft>
                <a:spcPts val="4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DC power jack (7V – 15V DC input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" name="Title 3"/>
          <p:cNvSpPr txBox="1">
            <a:spLocks/>
          </p:cNvSpPr>
          <p:nvPr/>
        </p:nvSpPr>
        <p:spPr>
          <a:xfrm>
            <a:off x="260910" y="653516"/>
            <a:ext cx="8928101" cy="5257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 smtClean="0">
                <a:latin typeface="+mn-lt"/>
              </a:rPr>
              <a:t>Designed for students</a:t>
            </a:r>
            <a:r>
              <a:rPr lang="en-GB" sz="1600" dirty="0">
                <a:latin typeface="+mn-lt"/>
              </a:rPr>
              <a:t>, makers and electronics </a:t>
            </a:r>
            <a:r>
              <a:rPr lang="en-GB" sz="1600" dirty="0" smtClean="0">
                <a:latin typeface="+mn-lt"/>
              </a:rPr>
              <a:t>enthusiasts / hobbyi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 smtClean="0">
                <a:latin typeface="+mn-lt"/>
              </a:rPr>
              <a:t>General Embedded headless applications and Gateways</a:t>
            </a:r>
            <a:endParaRPr lang="en-US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45979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215900" y="130020"/>
            <a:ext cx="4724400" cy="508155"/>
          </a:xfrm>
        </p:spPr>
        <p:txBody>
          <a:bodyPr/>
          <a:lstStyle/>
          <a:p>
            <a:r>
              <a:rPr lang="de-DE" b="1" dirty="0" smtClean="0">
                <a:latin typeface="+mn-lt"/>
              </a:rPr>
              <a:t>Intel Edison module </a:t>
            </a:r>
            <a:endParaRPr lang="en-US" b="1" dirty="0">
              <a:latin typeface="+mn-lt"/>
            </a:endParaRPr>
          </a:p>
        </p:txBody>
      </p:sp>
      <p:sp>
        <p:nvSpPr>
          <p:cNvPr id="7" name="Content Placeholder 4"/>
          <p:cNvSpPr>
            <a:spLocks noGrp="1"/>
          </p:cNvSpPr>
          <p:nvPr>
            <p:ph sz="half" idx="4294967295"/>
          </p:nvPr>
        </p:nvSpPr>
        <p:spPr>
          <a:xfrm>
            <a:off x="400050" y="1824939"/>
            <a:ext cx="4998118" cy="2894018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de-DE" b="1" dirty="0" smtClean="0">
                <a:solidFill>
                  <a:schemeClr val="tx1"/>
                </a:solidFill>
              </a:rPr>
              <a:t>Board</a:t>
            </a:r>
            <a:endParaRPr lang="en-US" sz="1600" b="1" dirty="0" smtClean="0">
              <a:solidFill>
                <a:schemeClr val="tx1"/>
              </a:solidFill>
            </a:endParaRP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tx1"/>
                </a:solidFill>
              </a:rPr>
              <a:t>22nm 2 core </a:t>
            </a:r>
            <a:r>
              <a:rPr lang="en-US" sz="1400" dirty="0" smtClean="0">
                <a:solidFill>
                  <a:schemeClr val="tx1"/>
                </a:solidFill>
              </a:rPr>
              <a:t>Intel</a:t>
            </a:r>
            <a:r>
              <a:rPr lang="en-US" sz="1400" dirty="0">
                <a:solidFill>
                  <a:schemeClr val="tx1"/>
                </a:solidFill>
              </a:rPr>
              <a:t>® Atom™ </a:t>
            </a:r>
            <a:r>
              <a:rPr lang="en-US" sz="1400" dirty="0" smtClean="0">
                <a:solidFill>
                  <a:schemeClr val="tx1"/>
                </a:solidFill>
              </a:rPr>
              <a:t>Core™  @ 500MHz</a:t>
            </a:r>
            <a:endParaRPr lang="en-US" sz="1400" dirty="0">
              <a:solidFill>
                <a:schemeClr val="tx1"/>
              </a:solidFill>
            </a:endParaRP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1 Intel® Quark</a:t>
            </a:r>
            <a:r>
              <a:rPr lang="de-DE" sz="1400" dirty="0" smtClean="0">
                <a:solidFill>
                  <a:schemeClr val="tx1"/>
                </a:solidFill>
              </a:rPr>
              <a:t>™ </a:t>
            </a:r>
            <a:r>
              <a:rPr lang="de-DE" sz="1400" dirty="0">
                <a:solidFill>
                  <a:schemeClr val="tx1"/>
                </a:solidFill>
              </a:rPr>
              <a:t>MCU </a:t>
            </a:r>
            <a:r>
              <a:rPr lang="de-DE" sz="1400" dirty="0" smtClean="0">
                <a:solidFill>
                  <a:schemeClr val="tx1"/>
                </a:solidFill>
              </a:rPr>
              <a:t>@ 100MHz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35.5 </a:t>
            </a:r>
            <a:r>
              <a:rPr lang="en-US" sz="1400" dirty="0">
                <a:solidFill>
                  <a:schemeClr val="tx1"/>
                </a:solidFill>
              </a:rPr>
              <a:t>× 25.0 × 3.9 </a:t>
            </a:r>
            <a:r>
              <a:rPr lang="en-US" sz="1400" dirty="0" smtClean="0">
                <a:solidFill>
                  <a:schemeClr val="tx1"/>
                </a:solidFill>
              </a:rPr>
              <a:t>mm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1 GB RAM (LPDDR3, 2ch @ 800 MT/s)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4 GB </a:t>
            </a:r>
            <a:r>
              <a:rPr lang="de-DE" sz="1400" dirty="0" err="1" smtClean="0">
                <a:solidFill>
                  <a:schemeClr val="tx1"/>
                </a:solidFill>
              </a:rPr>
              <a:t>eMMC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Wi-Fi (a/b/g/n) </a:t>
            </a:r>
            <a:r>
              <a:rPr lang="de-DE" sz="1400" dirty="0">
                <a:solidFill>
                  <a:schemeClr val="tx1"/>
                </a:solidFill>
              </a:rPr>
              <a:t>+</a:t>
            </a:r>
            <a:r>
              <a:rPr lang="de-DE" sz="1400" dirty="0" smtClean="0">
                <a:solidFill>
                  <a:schemeClr val="tx1"/>
                </a:solidFill>
              </a:rPr>
              <a:t> BT 4.0 + antenna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40 GPIOs</a:t>
            </a:r>
            <a:r>
              <a:rPr lang="en-GB" sz="1400" dirty="0">
                <a:solidFill>
                  <a:schemeClr val="tx1"/>
                </a:solidFill>
              </a:rPr>
              <a:t> : UART, I2C, SPI, I2S, </a:t>
            </a:r>
            <a:r>
              <a:rPr lang="en-GB" sz="1400" dirty="0" smtClean="0">
                <a:solidFill>
                  <a:schemeClr val="tx1"/>
                </a:solidFill>
              </a:rPr>
              <a:t>PWM, USB 2.0, SD card, clock out, GPIO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" name="Content Placeholder 5"/>
          <p:cNvSpPr>
            <a:spLocks noGrp="1"/>
          </p:cNvSpPr>
          <p:nvPr>
            <p:ph sz="half" idx="4294967295"/>
          </p:nvPr>
        </p:nvSpPr>
        <p:spPr>
          <a:xfrm>
            <a:off x="5551421" y="1995269"/>
            <a:ext cx="3358663" cy="270573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de-DE" b="1" dirty="0" smtClean="0">
                <a:solidFill>
                  <a:schemeClr val="tx1"/>
                </a:solidFill>
              </a:rPr>
              <a:t>Software</a:t>
            </a:r>
            <a:endParaRPr lang="de-DE" sz="1600" b="1" dirty="0" smtClean="0">
              <a:solidFill>
                <a:schemeClr val="tx1"/>
              </a:solidFill>
            </a:endParaRPr>
          </a:p>
          <a:p>
            <a:pPr marL="568325" lvl="1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Default OS: </a:t>
            </a:r>
            <a:r>
              <a:rPr lang="de-DE" sz="1400" dirty="0" smtClean="0">
                <a:solidFill>
                  <a:schemeClr val="tx1"/>
                </a:solidFill>
              </a:rPr>
              <a:t>Yocto* </a:t>
            </a:r>
            <a:r>
              <a:rPr lang="de-DE" sz="1400" dirty="0">
                <a:solidFill>
                  <a:schemeClr val="tx1"/>
                </a:solidFill>
              </a:rPr>
              <a:t>1.6 Linux*</a:t>
            </a:r>
          </a:p>
          <a:p>
            <a:pPr marL="568325" lvl="1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Right now: 3.10.17 kernel</a:t>
            </a:r>
          </a:p>
          <a:p>
            <a:pPr marL="568325" lvl="1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OTA </a:t>
            </a:r>
            <a:r>
              <a:rPr lang="de-DE" sz="1400" dirty="0" smtClean="0">
                <a:solidFill>
                  <a:schemeClr val="tx1"/>
                </a:solidFill>
              </a:rPr>
              <a:t>upgradable</a:t>
            </a:r>
            <a:endParaRPr lang="de-DE" sz="1400" dirty="0">
              <a:solidFill>
                <a:schemeClr val="tx1"/>
              </a:solidFill>
            </a:endParaRPr>
          </a:p>
          <a:p>
            <a:pPr marL="568325" lvl="1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400" b="1" dirty="0" smtClean="0">
                <a:solidFill>
                  <a:schemeClr val="tx1"/>
                </a:solidFill>
              </a:rPr>
              <a:t>libmraa</a:t>
            </a:r>
            <a:r>
              <a:rPr lang="de-DE" sz="1400" dirty="0">
                <a:solidFill>
                  <a:schemeClr val="tx1"/>
                </a:solidFill>
              </a:rPr>
              <a:t>: </a:t>
            </a:r>
            <a:r>
              <a:rPr lang="de-DE" sz="1400" dirty="0" smtClean="0">
                <a:solidFill>
                  <a:schemeClr val="tx1"/>
                </a:solidFill>
              </a:rPr>
              <a:t>IO </a:t>
            </a:r>
            <a:r>
              <a:rPr lang="de-DE" sz="1400" dirty="0">
                <a:solidFill>
                  <a:schemeClr val="tx1"/>
                </a:solidFill>
              </a:rPr>
              <a:t>abstraction layer </a:t>
            </a:r>
          </a:p>
          <a:p>
            <a:pPr marL="568325" lvl="1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400" b="1" dirty="0" smtClean="0">
                <a:solidFill>
                  <a:schemeClr val="tx1"/>
                </a:solidFill>
              </a:rPr>
              <a:t>UPM</a:t>
            </a:r>
            <a:r>
              <a:rPr lang="de-DE" sz="1400" dirty="0" smtClean="0">
                <a:solidFill>
                  <a:schemeClr val="tx1"/>
                </a:solidFill>
              </a:rPr>
              <a:t>: sensor libraries</a:t>
            </a:r>
          </a:p>
          <a:p>
            <a:pPr>
              <a:spcBef>
                <a:spcPts val="1000"/>
              </a:spcBef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/>
        </p:nvSpPr>
        <p:spPr>
          <a:xfrm>
            <a:off x="215899" y="1062355"/>
            <a:ext cx="8928101" cy="6031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600" dirty="0">
                <a:latin typeface="+mn-lt"/>
              </a:rPr>
              <a:t>Desingened</a:t>
            </a:r>
            <a:r>
              <a:rPr lang="de-DE" sz="1600" i="1" dirty="0" smtClean="0">
                <a:solidFill>
                  <a:schemeClr val="tx1"/>
                </a:solidFill>
                <a:latin typeface="+mn-lt"/>
              </a:rPr>
              <a:t> </a:t>
            </a:r>
            <a:r>
              <a:rPr lang="de-DE" sz="1600" dirty="0">
                <a:latin typeface="+mn-lt"/>
              </a:rPr>
              <a:t>to be </a:t>
            </a:r>
            <a:r>
              <a:rPr lang="de-DE" sz="1600" dirty="0" smtClean="0">
                <a:latin typeface="+mn-lt"/>
              </a:rPr>
              <a:t>wireless </a:t>
            </a:r>
            <a:r>
              <a:rPr lang="de-DE" sz="1600" dirty="0">
                <a:latin typeface="+mn-lt"/>
              </a:rPr>
              <a:t>with compute performance and low power</a:t>
            </a:r>
            <a:r>
              <a:rPr lang="de-DE" sz="1600" dirty="0" smtClean="0">
                <a:latin typeface="+mn-lt"/>
              </a:rPr>
              <a:t>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 smtClean="0">
                <a:latin typeface="+mn-lt"/>
              </a:rPr>
              <a:t>For inventors</a:t>
            </a:r>
            <a:r>
              <a:rPr lang="en-GB" sz="1600" dirty="0">
                <a:latin typeface="+mn-lt"/>
              </a:rPr>
              <a:t>, entrepreneurs, and consumer product designers to rapidly </a:t>
            </a:r>
            <a:r>
              <a:rPr lang="en-GB" sz="1600" dirty="0" smtClean="0">
                <a:latin typeface="+mn-lt"/>
              </a:rPr>
              <a:t>prototype.</a:t>
            </a:r>
            <a:endParaRPr lang="en-US" sz="1600" dirty="0">
              <a:latin typeface="+mn-lt"/>
            </a:endParaRPr>
          </a:p>
        </p:txBody>
      </p:sp>
      <p:pic>
        <p:nvPicPr>
          <p:cNvPr id="10" name="Picture 9" descr="edison_module_front_v02_transpare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9411" y="-464489"/>
            <a:ext cx="1865248" cy="1865248"/>
          </a:xfrm>
          <a:prstGeom prst="rect">
            <a:avLst/>
          </a:prstGeom>
        </p:spPr>
      </p:pic>
      <p:sp>
        <p:nvSpPr>
          <p:cNvPr id="11" name="Shape 402"/>
          <p:cNvSpPr/>
          <p:nvPr/>
        </p:nvSpPr>
        <p:spPr>
          <a:xfrm>
            <a:off x="2154907" y="4965754"/>
            <a:ext cx="5412477" cy="215403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800" b="0" i="0" u="none" strike="noStrike" cap="none" baseline="0" dirty="0" smtClean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* Names </a:t>
            </a:r>
            <a:r>
              <a:rPr lang="en-US" sz="800" b="0" i="0" u="none" strike="noStrike" cap="none" baseline="0" dirty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and brands may be claimed by the property of </a:t>
            </a:r>
            <a:r>
              <a:rPr lang="en-US" sz="800" b="0" i="0" u="none" strike="noStrike" cap="none" baseline="0" dirty="0" smtClean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third </a:t>
            </a:r>
            <a:r>
              <a:rPr lang="en-US" sz="800" b="0" i="0" u="none" strike="noStrike" cap="none" baseline="0" dirty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party name and the notation</a:t>
            </a:r>
            <a:r>
              <a:rPr lang="en-US" sz="800" b="0" i="0" u="none" strike="noStrike" cap="none" baseline="0" dirty="0" smtClean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.</a:t>
            </a:r>
            <a:endParaRPr lang="en-US" sz="800" b="0" i="0" u="none" strike="noStrike" cap="none" baseline="0" dirty="0">
              <a:solidFill>
                <a:schemeClr val="bg1">
                  <a:lumMod val="65000"/>
                </a:schemeClr>
              </a:solidFill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7379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Title 4"/>
          <p:cNvSpPr>
            <a:spLocks noGrp="1"/>
          </p:cNvSpPr>
          <p:nvPr>
            <p:ph type="title"/>
          </p:nvPr>
        </p:nvSpPr>
        <p:spPr>
          <a:xfrm>
            <a:off x="188573" y="98856"/>
            <a:ext cx="8698251" cy="868680"/>
          </a:xfrm>
        </p:spPr>
        <p:txBody>
          <a:bodyPr/>
          <a:lstStyle/>
          <a:p>
            <a:r>
              <a:rPr lang="en-US" b="1" dirty="0" smtClean="0">
                <a:latin typeface="+mn-lt"/>
              </a:rPr>
              <a:t>Intel Edison </a:t>
            </a:r>
            <a:r>
              <a:rPr lang="en-US" b="1" dirty="0">
                <a:latin typeface="+mn-lt"/>
              </a:rPr>
              <a:t>Development </a:t>
            </a:r>
            <a:r>
              <a:rPr lang="en-US" b="1" dirty="0" smtClean="0">
                <a:latin typeface="+mn-lt"/>
              </a:rPr>
              <a:t>Boards:</a:t>
            </a:r>
            <a:r>
              <a:rPr lang="en-US" dirty="0" smtClean="0">
                <a:latin typeface="+mn-lt"/>
              </a:rPr>
              <a:t> </a:t>
            </a:r>
            <a:r>
              <a:rPr lang="en-US" sz="2400" dirty="0" smtClean="0">
                <a:latin typeface="+mn-lt"/>
              </a:rPr>
              <a:t>Arduino* expansion </a:t>
            </a:r>
            <a:endParaRPr lang="en-US" sz="2400" dirty="0">
              <a:latin typeface="+mn-lt"/>
            </a:endParaRPr>
          </a:p>
        </p:txBody>
      </p:sp>
      <p:sp>
        <p:nvSpPr>
          <p:cNvPr id="4" name="Content Placeholder 5"/>
          <p:cNvSpPr>
            <a:spLocks noGrp="1"/>
          </p:cNvSpPr>
          <p:nvPr>
            <p:ph idx="4294967295"/>
          </p:nvPr>
        </p:nvSpPr>
        <p:spPr>
          <a:xfrm>
            <a:off x="188573" y="704850"/>
            <a:ext cx="8409517" cy="4345322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lvl="1" indent="0">
              <a:spcAft>
                <a:spcPts val="600"/>
              </a:spcAft>
              <a:buNone/>
            </a:pPr>
            <a:r>
              <a:rPr lang="en-US" sz="1800" b="1" dirty="0" smtClean="0"/>
              <a:t>Board </a:t>
            </a:r>
            <a:r>
              <a:rPr lang="en-US" sz="1800" b="1" dirty="0"/>
              <a:t>I/O:  </a:t>
            </a:r>
            <a:r>
              <a:rPr lang="en-US" sz="1800" dirty="0"/>
              <a:t>Compatible with </a:t>
            </a:r>
            <a:r>
              <a:rPr lang="en-US" sz="1800" dirty="0" smtClean="0"/>
              <a:t>Arduino* </a:t>
            </a:r>
            <a:r>
              <a:rPr lang="en-US" sz="1800" dirty="0"/>
              <a:t>Uno (except only 4 PWM instead of 6 PWM</a:t>
            </a:r>
            <a:r>
              <a:rPr lang="en-US" sz="1800" dirty="0" smtClean="0"/>
              <a:t>)</a:t>
            </a:r>
          </a:p>
          <a:p>
            <a:pPr marL="361950" lvl="1" indent="-276225">
              <a:spcBef>
                <a:spcPts val="0"/>
              </a:spcBef>
              <a:spcAft>
                <a:spcPts val="400"/>
              </a:spcAft>
            </a:pPr>
            <a:endParaRPr lang="en-US" dirty="0" smtClean="0"/>
          </a:p>
          <a:p>
            <a:pPr marL="371475" lvl="1" indent="-2857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20 </a:t>
            </a:r>
            <a:r>
              <a:rPr lang="en-US" dirty="0">
                <a:solidFill>
                  <a:schemeClr val="tx1"/>
                </a:solidFill>
              </a:rPr>
              <a:t>digital </a:t>
            </a:r>
            <a:r>
              <a:rPr lang="en-US" dirty="0" smtClean="0">
                <a:solidFill>
                  <a:schemeClr val="tx1"/>
                </a:solidFill>
              </a:rPr>
              <a:t>I/O pins </a:t>
            </a:r>
            <a:r>
              <a:rPr lang="en-US" dirty="0">
                <a:solidFill>
                  <a:schemeClr val="tx1"/>
                </a:solidFill>
              </a:rPr>
              <a:t>including 4 pins as PWM outputs</a:t>
            </a:r>
          </a:p>
          <a:p>
            <a:pPr marL="371475" lvl="1" indent="-2857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6 analog inputs</a:t>
            </a:r>
          </a:p>
          <a:p>
            <a:pPr marL="371475" lvl="1" indent="-2857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1 UART (RX/TX)</a:t>
            </a:r>
          </a:p>
          <a:p>
            <a:pPr marL="371475" lvl="1" indent="-2857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1 I2C</a:t>
            </a:r>
          </a:p>
          <a:p>
            <a:pPr marL="371475" lvl="1" indent="-2857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1 ICSP 6-pin header (SPI)</a:t>
            </a:r>
          </a:p>
          <a:p>
            <a:pPr marL="371475" lvl="1" indent="-2857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Micro USB device </a:t>
            </a:r>
            <a:r>
              <a:rPr lang="en-US" dirty="0" smtClean="0">
                <a:solidFill>
                  <a:schemeClr val="tx1"/>
                </a:solidFill>
              </a:rPr>
              <a:t>connector</a:t>
            </a:r>
          </a:p>
          <a:p>
            <a:pPr marL="371475" lvl="1" indent="-2857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Micro </a:t>
            </a:r>
            <a:r>
              <a:rPr lang="en-US" dirty="0">
                <a:solidFill>
                  <a:schemeClr val="tx1"/>
                </a:solidFill>
              </a:rPr>
              <a:t>USB device (connected to UART)</a:t>
            </a:r>
          </a:p>
          <a:p>
            <a:pPr marL="371475" lvl="1" indent="-2857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D Card </a:t>
            </a:r>
            <a:r>
              <a:rPr lang="en-US" dirty="0" smtClean="0">
                <a:solidFill>
                  <a:schemeClr val="tx1"/>
                </a:solidFill>
              </a:rPr>
              <a:t>connector</a:t>
            </a:r>
          </a:p>
          <a:p>
            <a:pPr marL="371475" lvl="1" indent="-2857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DC power jack (7V – 15V DC input)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8825" y="1736626"/>
            <a:ext cx="4724400" cy="2619375"/>
          </a:xfrm>
          <a:prstGeom prst="rect">
            <a:avLst/>
          </a:prstGeom>
        </p:spPr>
      </p:pic>
      <p:sp>
        <p:nvSpPr>
          <p:cNvPr id="6" name="Oval 5"/>
          <p:cNvSpPr/>
          <p:nvPr/>
        </p:nvSpPr>
        <p:spPr>
          <a:xfrm>
            <a:off x="4161378" y="2986762"/>
            <a:ext cx="1664569" cy="1190406"/>
          </a:xfrm>
          <a:prstGeom prst="ellipse">
            <a:avLst/>
          </a:prstGeom>
          <a:noFill/>
          <a:ln w="25400">
            <a:solidFill>
              <a:srgbClr val="0000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ounded Rectangular Callout 6"/>
          <p:cNvSpPr/>
          <p:nvPr/>
        </p:nvSpPr>
        <p:spPr>
          <a:xfrm>
            <a:off x="3129601" y="4116087"/>
            <a:ext cx="1133284" cy="718682"/>
          </a:xfrm>
          <a:prstGeom prst="wedgeRoundRectCallout">
            <a:avLst>
              <a:gd name="adj1" fmla="val 75495"/>
              <a:gd name="adj2" fmla="val -60217"/>
              <a:gd name="adj3" fmla="val 16667"/>
            </a:avLst>
          </a:prstGeom>
          <a:noFill/>
          <a:ln w="19050">
            <a:solidFill>
              <a:srgbClr val="0000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GB" sz="1100" dirty="0" smtClean="0">
                <a:solidFill>
                  <a:schemeClr val="tx1"/>
                </a:solidFill>
              </a:rPr>
              <a:t>Board to board Press-fit connection (Hirose DF40)   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8" name="Shape 402"/>
          <p:cNvSpPr/>
          <p:nvPr/>
        </p:nvSpPr>
        <p:spPr>
          <a:xfrm>
            <a:off x="2577817" y="4970138"/>
            <a:ext cx="5412477" cy="215403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800" b="0" i="0" u="none" strike="noStrike" cap="none" baseline="0" dirty="0" smtClean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* Names </a:t>
            </a:r>
            <a:r>
              <a:rPr lang="en-US" sz="800" b="0" i="0" u="none" strike="noStrike" cap="none" baseline="0" dirty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and brands may be claimed by the property of </a:t>
            </a:r>
            <a:r>
              <a:rPr lang="en-US" sz="800" b="0" i="0" u="none" strike="noStrike" cap="none" baseline="0" dirty="0" smtClean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third </a:t>
            </a:r>
            <a:r>
              <a:rPr lang="en-US" sz="800" b="0" i="0" u="none" strike="noStrike" cap="none" baseline="0" dirty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party name and the notation</a:t>
            </a:r>
            <a:r>
              <a:rPr lang="en-US" sz="800" b="0" i="0" u="none" strike="noStrike" cap="none" baseline="0" dirty="0" smtClean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.</a:t>
            </a:r>
            <a:endParaRPr lang="en-US" sz="800" b="0" i="0" u="none" strike="noStrike" cap="none" baseline="0" dirty="0">
              <a:solidFill>
                <a:schemeClr val="bg1">
                  <a:lumMod val="65000"/>
                </a:schemeClr>
              </a:solidFill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9216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Title 4"/>
          <p:cNvSpPr>
            <a:spLocks noGrp="1"/>
          </p:cNvSpPr>
          <p:nvPr>
            <p:ph type="title"/>
          </p:nvPr>
        </p:nvSpPr>
        <p:spPr>
          <a:xfrm>
            <a:off x="188573" y="98856"/>
            <a:ext cx="8698251" cy="447244"/>
          </a:xfrm>
        </p:spPr>
        <p:txBody>
          <a:bodyPr/>
          <a:lstStyle/>
          <a:p>
            <a:r>
              <a:rPr lang="en-US" b="1" dirty="0" smtClean="0">
                <a:latin typeface="+mn-lt"/>
              </a:rPr>
              <a:t>Intel Edison </a:t>
            </a:r>
            <a:r>
              <a:rPr lang="en-US" b="1" dirty="0">
                <a:latin typeface="+mn-lt"/>
              </a:rPr>
              <a:t>Development </a:t>
            </a:r>
            <a:r>
              <a:rPr lang="en-US" b="1" dirty="0" smtClean="0">
                <a:latin typeface="+mn-lt"/>
              </a:rPr>
              <a:t>Boards:</a:t>
            </a:r>
            <a:r>
              <a:rPr lang="en-US" dirty="0" smtClean="0">
                <a:latin typeface="+mn-lt"/>
              </a:rPr>
              <a:t> Breakout board </a:t>
            </a:r>
            <a:endParaRPr lang="en-US" dirty="0">
              <a:latin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69420" y="832889"/>
            <a:ext cx="5137688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spcAft>
                <a:spcPts val="1200"/>
              </a:spcAft>
            </a:pPr>
            <a:r>
              <a:rPr lang="en-US" sz="2000" b="1" dirty="0"/>
              <a:t>Board I/O:  </a:t>
            </a:r>
            <a:endParaRPr lang="en-US" sz="2000" b="1" dirty="0" smtClean="0"/>
          </a:p>
          <a:p>
            <a:pPr marL="446088" lvl="1" indent="-265113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 smtClean="0"/>
              <a:t>Exposes </a:t>
            </a:r>
            <a:r>
              <a:rPr lang="en-US" sz="1600" dirty="0"/>
              <a:t>native 1.8V I/O of the Edison </a:t>
            </a:r>
            <a:r>
              <a:rPr lang="en-US" sz="1600" dirty="0" smtClean="0"/>
              <a:t>module</a:t>
            </a:r>
          </a:p>
          <a:p>
            <a:pPr marL="446088" lvl="1" indent="-265113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 smtClean="0"/>
              <a:t>0.1</a:t>
            </a:r>
            <a:r>
              <a:rPr lang="en-US" sz="1600" dirty="0"/>
              <a:t>” grid I/O array of through-hole solder </a:t>
            </a:r>
            <a:r>
              <a:rPr lang="en-US" sz="1600" dirty="0" smtClean="0"/>
              <a:t>points</a:t>
            </a:r>
          </a:p>
          <a:p>
            <a:pPr marL="446088" lvl="1" indent="-265113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 smtClean="0"/>
              <a:t>USB </a:t>
            </a:r>
            <a:r>
              <a:rPr lang="en-US" sz="1600" dirty="0"/>
              <a:t>OTG with USB Micro Type-AB </a:t>
            </a:r>
            <a:r>
              <a:rPr lang="en-US" sz="1600" dirty="0" smtClean="0"/>
              <a:t>connector</a:t>
            </a:r>
          </a:p>
          <a:p>
            <a:pPr marL="446088" lvl="1" indent="-265113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 smtClean="0"/>
              <a:t>USB </a:t>
            </a:r>
            <a:r>
              <a:rPr lang="en-US" sz="1600" dirty="0"/>
              <a:t>OTG power </a:t>
            </a:r>
            <a:r>
              <a:rPr lang="en-US" sz="1600" dirty="0" smtClean="0"/>
              <a:t>switch</a:t>
            </a:r>
          </a:p>
          <a:p>
            <a:pPr marL="446088" lvl="1" indent="-265113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 smtClean="0"/>
              <a:t>Battery Charger</a:t>
            </a:r>
          </a:p>
          <a:p>
            <a:pPr marL="446088" lvl="1" indent="-265113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 smtClean="0"/>
              <a:t>USB </a:t>
            </a:r>
            <a:r>
              <a:rPr lang="en-US" sz="1600" dirty="0"/>
              <a:t>to device UART bridge with USB Micro Type-B </a:t>
            </a:r>
            <a:r>
              <a:rPr lang="en-US" sz="1600" dirty="0" smtClean="0"/>
              <a:t>connector</a:t>
            </a:r>
          </a:p>
          <a:p>
            <a:pPr marL="2857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1400" dirty="0" smtClean="0"/>
          </a:p>
          <a:p>
            <a:pPr>
              <a:spcAft>
                <a:spcPts val="1200"/>
              </a:spcAft>
            </a:pPr>
            <a:endParaRPr lang="en-US" sz="1000" dirty="0" smtClean="0">
              <a:cs typeface="Neo Sans Intel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8283" y="1039592"/>
            <a:ext cx="3508628" cy="165488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08283" y="2981266"/>
            <a:ext cx="3504056" cy="164697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803822" y="586668"/>
            <a:ext cx="291297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</a:rPr>
              <a:t> 61mm x 29mm x 12mm </a:t>
            </a:r>
            <a:r>
              <a:rPr lang="en-US" sz="1000" dirty="0" smtClean="0">
                <a:solidFill>
                  <a:schemeClr val="tx2"/>
                </a:solidFill>
              </a:rPr>
              <a:t>(2.4 </a:t>
            </a:r>
            <a:r>
              <a:rPr lang="en-US" sz="1000" dirty="0">
                <a:solidFill>
                  <a:schemeClr val="tx2"/>
                </a:solidFill>
              </a:rPr>
              <a:t>x </a:t>
            </a:r>
            <a:r>
              <a:rPr lang="en-US" sz="1000" dirty="0" smtClean="0">
                <a:solidFill>
                  <a:schemeClr val="tx2"/>
                </a:solidFill>
              </a:rPr>
              <a:t>1.1 </a:t>
            </a:r>
            <a:r>
              <a:rPr lang="en-US" sz="1000" dirty="0">
                <a:solidFill>
                  <a:schemeClr val="tx2"/>
                </a:solidFill>
              </a:rPr>
              <a:t>x </a:t>
            </a:r>
            <a:r>
              <a:rPr lang="en-US" sz="1000" dirty="0" smtClean="0">
                <a:solidFill>
                  <a:schemeClr val="tx2"/>
                </a:solidFill>
              </a:rPr>
              <a:t>0.5 inches)</a:t>
            </a:r>
            <a:endParaRPr lang="en-US" sz="1000" dirty="0" smtClean="0">
              <a:solidFill>
                <a:schemeClr val="tx2"/>
              </a:solidFill>
              <a:cs typeface="Neo Sans Intel"/>
            </a:endParaRPr>
          </a:p>
        </p:txBody>
      </p:sp>
    </p:spTree>
    <p:extLst>
      <p:ext uri="{BB962C8B-B14F-4D97-AF65-F5344CB8AC3E}">
        <p14:creationId xmlns:p14="http://schemas.microsoft.com/office/powerpoint/2010/main" val="349684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31632" y="38309"/>
            <a:ext cx="8902843" cy="512466"/>
          </a:xfrm>
        </p:spPr>
        <p:txBody>
          <a:bodyPr>
            <a:normAutofit/>
          </a:bodyPr>
          <a:lstStyle/>
          <a:p>
            <a:r>
              <a:rPr lang="en-US" b="1" dirty="0" smtClean="0">
                <a:latin typeface="+mn-lt"/>
              </a:rPr>
              <a:t>Grove</a:t>
            </a:r>
            <a:r>
              <a:rPr lang="en-US" sz="1800" b="1" dirty="0" smtClean="0">
                <a:latin typeface="+mn-lt"/>
              </a:rPr>
              <a:t>*</a:t>
            </a:r>
            <a:r>
              <a:rPr lang="en-US" b="1" dirty="0" smtClean="0">
                <a:latin typeface="+mn-lt"/>
              </a:rPr>
              <a:t> Starter Kit Plus - Intel IoT Edition</a:t>
            </a:r>
            <a:endParaRPr lang="en-US" b="1" dirty="0">
              <a:latin typeface="+mn-lt"/>
            </a:endParaRPr>
          </a:p>
        </p:txBody>
      </p:sp>
      <p:graphicFrame>
        <p:nvGraphicFramePr>
          <p:cNvPr id="4" name="Content Placeholder 5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364718983"/>
              </p:ext>
            </p:extLst>
          </p:nvPr>
        </p:nvGraphicFramePr>
        <p:xfrm>
          <a:off x="328348" y="635495"/>
          <a:ext cx="3024452" cy="42181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243"/>
                <a:gridCol w="2733209"/>
              </a:tblGrid>
              <a:tr h="2381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Base Shield v2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</a:tr>
              <a:tr h="2381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2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Grove - Buzzer V1.1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</a:tr>
              <a:tr h="2381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3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Grove – Button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</a:tr>
              <a:tr h="2381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4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Grove-LED v1.3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</a:tr>
              <a:tr h="40820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5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Grove - Sound Sensor_V1.2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</a:tr>
              <a:tr h="2381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6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Grove - Rotary Angle Sensor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</a:tr>
              <a:tr h="2381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7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Grove-Touch Sensor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</a:tr>
              <a:tr h="2381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8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Grove - Smart Relay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</a:tr>
              <a:tr h="2381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9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Grove-Light Sensor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</a:tr>
              <a:tr h="2381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0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Grove - Temperature Sensor_V1.1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</a:tr>
              <a:tr h="2381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1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26AWG Grove Cable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</a:tr>
              <a:tr h="2381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2</a:t>
                      </a:r>
                      <a:endParaRPr lang="en-US" sz="1100" b="0" i="0" u="none" strike="noStrike" dirty="0"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Mini Servo</a:t>
                      </a:r>
                      <a:endParaRPr lang="en-US" sz="1100" b="0" i="0" u="none" strike="noStrike" dirty="0"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</a:tr>
              <a:tr h="2381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3</a:t>
                      </a:r>
                      <a:endParaRPr lang="en-US" sz="1100" b="0" i="0" u="none" strike="noStrike" dirty="0"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9V to Barrel Jack Adapter - 126mm</a:t>
                      </a:r>
                      <a:endParaRPr lang="en-US" sz="1100" b="0" i="0" u="none" strike="noStrike" dirty="0"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</a:tr>
              <a:tr h="2381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4</a:t>
                      </a:r>
                      <a:endParaRPr lang="en-US" sz="1100" b="0" i="0" u="none" strike="noStrike" dirty="0"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DIP LED Blue-Blue</a:t>
                      </a:r>
                      <a:endParaRPr lang="en-US" sz="1100" b="0" i="0" u="none" strike="noStrike" dirty="0"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</a:tr>
              <a:tr h="2381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5</a:t>
                      </a:r>
                      <a:endParaRPr lang="en-US" sz="1100" b="0" i="0" u="none" strike="noStrike" dirty="0"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DIP LED Green-Green</a:t>
                      </a:r>
                      <a:endParaRPr lang="en-US" sz="1100" b="0" i="0" u="none" strike="noStrike" dirty="0"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</a:tr>
              <a:tr h="2381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6</a:t>
                      </a:r>
                      <a:endParaRPr lang="en-US" sz="1100" b="0" i="0" u="none" strike="noStrike" dirty="0"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DIP LED Red-Red</a:t>
                      </a:r>
                      <a:endParaRPr lang="en-US" sz="1100" b="0" i="0" u="none" strike="noStrike" dirty="0"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</a:tr>
              <a:tr h="2381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1</a:t>
                      </a:r>
                      <a:endParaRPr lang="en-US" sz="1100" b="0" i="0" u="none" strike="noStrike" dirty="0"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Grove - LCD RGB Backlight </a:t>
                      </a:r>
                      <a:endParaRPr lang="en-US" sz="1100" b="0" i="0" u="none" strike="noStrike" dirty="0">
                        <a:effectLst/>
                        <a:latin typeface="Arial Unicode MS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104" y="635501"/>
            <a:ext cx="4880196" cy="4218154"/>
          </a:xfrm>
          <a:prstGeom prst="rect">
            <a:avLst/>
          </a:prstGeom>
        </p:spPr>
      </p:pic>
      <p:sp>
        <p:nvSpPr>
          <p:cNvPr id="6" name="Shape 402"/>
          <p:cNvSpPr/>
          <p:nvPr/>
        </p:nvSpPr>
        <p:spPr>
          <a:xfrm>
            <a:off x="2273096" y="4968698"/>
            <a:ext cx="5412477" cy="215403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800" b="0" i="0" u="none" strike="noStrike" cap="none" baseline="0" dirty="0" smtClean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* Names </a:t>
            </a:r>
            <a:r>
              <a:rPr lang="en-US" sz="800" b="0" i="0" u="none" strike="noStrike" cap="none" baseline="0" dirty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and brands may be claimed by the property of </a:t>
            </a:r>
            <a:r>
              <a:rPr lang="en-US" sz="800" b="0" i="0" u="none" strike="noStrike" cap="none" baseline="0" dirty="0" smtClean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third </a:t>
            </a:r>
            <a:r>
              <a:rPr lang="en-US" sz="800" b="0" i="0" u="none" strike="noStrike" cap="none" baseline="0" dirty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party name and the notation</a:t>
            </a:r>
            <a:r>
              <a:rPr lang="en-US" sz="800" b="0" i="0" u="none" strike="noStrike" cap="none" baseline="0" dirty="0" smtClean="0">
                <a:solidFill>
                  <a:schemeClr val="bg1">
                    <a:lumMod val="65000"/>
                  </a:schemeClr>
                </a:solidFill>
                <a:ea typeface="Arial"/>
                <a:cs typeface="Arial"/>
                <a:sym typeface="Arial"/>
              </a:rPr>
              <a:t>.</a:t>
            </a:r>
            <a:endParaRPr lang="en-US" sz="800" b="0" i="0" u="none" strike="noStrike" cap="none" baseline="0" dirty="0">
              <a:solidFill>
                <a:schemeClr val="bg1">
                  <a:lumMod val="65000"/>
                </a:schemeClr>
              </a:solidFill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98485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aPcFpu.lCku0RbFSuY9oY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UFzk09i0y3NTKXAD3C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UFzk09i0y3NTKXAD3C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UFzk09i0y3NTKXAD3Cf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UFzk09i0y3NTKXAD3C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UFzk09i0y3NTKXAD3Cf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UFzk09i0y3NTKXAD3C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UFzk09i0y3NTKXAD3Cf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UFzk09i0y3NTKXAD3Cf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KMd331YEilZLxttR3SA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KMd331YEilZLxttR3S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aPcFpu.lCku0RbFSuY9o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KMd331YEilZLxttR3SA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KMd331YEilZLxttR3SA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KMd331YEilZLxttR3SA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KMd331YEilZLxttR3SA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KMd331YEilZLxttR3SA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KMd331YEilZLxttR3S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aPcFpu.lCku0RbFSuY9o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I09Lel_EqJXDr_ZyHh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aPcFpu.lCku0RbFSuY9oY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UFzk09i0y3NTKXAD3Cf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KMd331YEilZLxttR3SA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HlU3ZuHkGIA_OLMDy9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HlU3ZuHkGIA_OLMDy9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HlU3ZuHkGIA_OLMDy9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HlU3ZuHkGIA_OLMDy9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HlU3ZuHkGIA_OLMDy9GQ"/>
</p:tagLst>
</file>

<file path=ppt/theme/theme1.xml><?xml version="1.0" encoding="utf-8"?>
<a:theme xmlns:a="http://schemas.openxmlformats.org/drawingml/2006/main" name="Intel_Presentation Template_16x9_CLEAR_040114">
  <a:themeElements>
    <a:clrScheme name="Intel Clear Jan 2014">
      <a:dk1>
        <a:sysClr val="windowText" lastClr="000000"/>
      </a:dk1>
      <a:lt1>
        <a:sysClr val="window" lastClr="FFFFFF"/>
      </a:lt1>
      <a:dk2>
        <a:srgbClr val="004280"/>
      </a:dk2>
      <a:lt2>
        <a:srgbClr val="B1BABF"/>
      </a:lt2>
      <a:accent1>
        <a:srgbClr val="0071C5"/>
      </a:accent1>
      <a:accent2>
        <a:srgbClr val="00AEEF"/>
      </a:accent2>
      <a:accent3>
        <a:srgbClr val="8DC8E8"/>
      </a:accent3>
      <a:accent4>
        <a:srgbClr val="FFDA00"/>
      </a:accent4>
      <a:accent5>
        <a:srgbClr val="FDB813"/>
      </a:accent5>
      <a:accent6>
        <a:srgbClr val="A6CE39"/>
      </a:accent6>
      <a:hlink>
        <a:srgbClr val="00AEEF"/>
      </a:hlink>
      <a:folHlink>
        <a:srgbClr val="0071C5"/>
      </a:folHlink>
    </a:clrScheme>
    <a:fontScheme name="IntelClearPPT">
      <a:majorFont>
        <a:latin typeface="Intel Clear Light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000" dirty="0" smtClean="0">
            <a:solidFill>
              <a:schemeClr val="tx2"/>
            </a:solidFill>
            <a:cs typeface="Neo Sans Intel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l_Presentation Template_16x9_CLEAR_040114</Template>
  <TotalTime>7369</TotalTime>
  <Words>2692</Words>
  <Application>Microsoft Office PowerPoint</Application>
  <PresentationFormat>On-screen Show (16:9)</PresentationFormat>
  <Paragraphs>528</Paragraphs>
  <Slides>22</Slides>
  <Notes>20</Notes>
  <HiddenSlides>0</HiddenSlides>
  <MMClips>0</MMClips>
  <ScaleCrop>false</ScaleCrop>
  <HeadingPairs>
    <vt:vector size="6" baseType="variant">
      <vt:variant>
        <vt:lpstr>Fonts Used</vt:lpstr>
      </vt:variant>
      <vt:variant>
        <vt:i4>1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8" baseType="lpstr">
      <vt:lpstr>Arial Unicode MS</vt:lpstr>
      <vt:lpstr>MS PGothic</vt:lpstr>
      <vt:lpstr>Arial</vt:lpstr>
      <vt:lpstr>Arial Narrow</vt:lpstr>
      <vt:lpstr>Calibri</vt:lpstr>
      <vt:lpstr>Clear Sans Medium</vt:lpstr>
      <vt:lpstr>Courier New</vt:lpstr>
      <vt:lpstr>Intel Clear</vt:lpstr>
      <vt:lpstr>Intel Clear Bold Italic</vt:lpstr>
      <vt:lpstr>Intel Clear Light</vt:lpstr>
      <vt:lpstr>Lucida Grande</vt:lpstr>
      <vt:lpstr>Neo Sans Intel</vt:lpstr>
      <vt:lpstr>Neo Sans Intel Light</vt:lpstr>
      <vt:lpstr>Webdings</vt:lpstr>
      <vt:lpstr>Wingdings</vt:lpstr>
      <vt:lpstr>Intel_Presentation Template_16x9_CLEAR_040114</vt:lpstr>
      <vt:lpstr>PowerPoint Presentation</vt:lpstr>
      <vt:lpstr>PowerPoint Presentation</vt:lpstr>
      <vt:lpstr>PowerPoint Presentation</vt:lpstr>
      <vt:lpstr>Intel® Galileo and Edison™</vt:lpstr>
      <vt:lpstr>Intel Galileo Development Board</vt:lpstr>
      <vt:lpstr>Intel Edison module </vt:lpstr>
      <vt:lpstr>Intel Edison Development Boards: Arduino* expansion </vt:lpstr>
      <vt:lpstr>Intel Edison Development Boards: Breakout board </vt:lpstr>
      <vt:lpstr>Grove* Starter Kit Plus - Intel IoT Edition</vt:lpstr>
      <vt:lpstr>Target audience and developer path</vt:lpstr>
      <vt:lpstr>PowerPoint Presentation</vt:lpstr>
      <vt:lpstr>Python API </vt:lpstr>
      <vt:lpstr>PowerPoint Presentation</vt:lpstr>
      <vt:lpstr>Intel® IoT Analytics - www.enableiot.com </vt:lpstr>
      <vt:lpstr>Resources</vt:lpstr>
      <vt:lpstr>Next steps</vt:lpstr>
      <vt:lpstr>We’d Love To See You Again…Maker Fairs/Hackfests</vt:lpstr>
      <vt:lpstr>PowerPoint Presentation</vt:lpstr>
      <vt:lpstr>Thanks!</vt:lpstr>
      <vt:lpstr>Backup</vt:lpstr>
      <vt:lpstr>IoT DevKit for Edison vs. Galileo</vt:lpstr>
      <vt:lpstr>Upcoming… Intel® Curie™ module</vt:lpstr>
    </vt:vector>
  </TitlesOfParts>
  <Company>Intel Corporat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l Presentation Template Overview</dc:title>
  <dc:creator>Bolton, Matthew</dc:creator>
  <cp:lastModifiedBy>Ware, Scott R</cp:lastModifiedBy>
  <cp:revision>306</cp:revision>
  <dcterms:created xsi:type="dcterms:W3CDTF">2014-04-03T12:17:42Z</dcterms:created>
  <dcterms:modified xsi:type="dcterms:W3CDTF">2015-03-10T11:37:58Z</dcterms:modified>
</cp:coreProperties>
</file>